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8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9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0.xml" ContentType="application/vnd.openxmlformats-officedocument.theme+xml"/>
  <Override PartName="/ppt/tags/tag11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1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74" r:id="rId3"/>
    <p:sldMasterId id="2147483682" r:id="rId4"/>
    <p:sldMasterId id="2147483691" r:id="rId5"/>
    <p:sldMasterId id="2147483702" r:id="rId6"/>
    <p:sldMasterId id="2147483714" r:id="rId7"/>
    <p:sldMasterId id="2147483715" r:id="rId8"/>
    <p:sldMasterId id="2147483723" r:id="rId9"/>
    <p:sldMasterId id="2147483732" r:id="rId10"/>
    <p:sldMasterId id="2147483800" r:id="rId11"/>
    <p:sldMasterId id="2147483817" r:id="rId12"/>
    <p:sldMasterId id="2147483830" r:id="rId13"/>
  </p:sldMasterIdLst>
  <p:notesMasterIdLst>
    <p:notesMasterId r:id="rId39"/>
  </p:notesMasterIdLst>
  <p:sldIdLst>
    <p:sldId id="726" r:id="rId14"/>
    <p:sldId id="3411" r:id="rId15"/>
    <p:sldId id="3474" r:id="rId16"/>
    <p:sldId id="3481" r:id="rId17"/>
    <p:sldId id="3482" r:id="rId18"/>
    <p:sldId id="3715" r:id="rId19"/>
    <p:sldId id="3716" r:id="rId20"/>
    <p:sldId id="3565" r:id="rId21"/>
    <p:sldId id="3485" r:id="rId22"/>
    <p:sldId id="3569" r:id="rId23"/>
    <p:sldId id="3721" r:id="rId24"/>
    <p:sldId id="3722" r:id="rId25"/>
    <p:sldId id="3723" r:id="rId26"/>
    <p:sldId id="3724" r:id="rId27"/>
    <p:sldId id="3725" r:id="rId28"/>
    <p:sldId id="3726" r:id="rId29"/>
    <p:sldId id="3727" r:id="rId30"/>
    <p:sldId id="3728" r:id="rId31"/>
    <p:sldId id="3729" r:id="rId32"/>
    <p:sldId id="3730" r:id="rId33"/>
    <p:sldId id="3563" r:id="rId34"/>
    <p:sldId id="3718" r:id="rId35"/>
    <p:sldId id="3720" r:id="rId36"/>
    <p:sldId id="3706" r:id="rId37"/>
    <p:sldId id="3471" r:id="rId38"/>
  </p:sldIdLst>
  <p:sldSz cx="12192000" cy="6858000"/>
  <p:notesSz cx="6797675" cy="9926638"/>
  <p:custDataLst>
    <p:tags r:id="rId4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828F"/>
    <a:srgbClr val="587682"/>
    <a:srgbClr val="0FBAC3"/>
    <a:srgbClr val="11D5DF"/>
    <a:srgbClr val="FF741F"/>
    <a:srgbClr val="557D9B"/>
    <a:srgbClr val="3B849B"/>
    <a:srgbClr val="47818B"/>
    <a:srgbClr val="0B387A"/>
    <a:srgbClr val="7890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505E3EF-67EA-436B-97B2-0124C06EBD24}" styleName="Estilo medio 4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048" autoAdjust="0"/>
    <p:restoredTop sz="77086" autoAdjust="0"/>
  </p:normalViewPr>
  <p:slideViewPr>
    <p:cSldViewPr snapToGrid="0">
      <p:cViewPr varScale="1">
        <p:scale>
          <a:sx n="85" d="100"/>
          <a:sy n="85" d="100"/>
        </p:scale>
        <p:origin x="118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9275AF-3CFC-4D6A-A6A5-9EB0BE34A668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s-CL"/>
        </a:p>
      </dgm:t>
    </dgm:pt>
    <dgm:pt modelId="{7D404114-53A4-4261-B010-F00668DD121A}">
      <dgm:prSet phldrT="[Texto]"/>
      <dgm:spPr/>
      <dgm:t>
        <a:bodyPr/>
        <a:lstStyle/>
        <a:p>
          <a:r>
            <a:rPr lang="es-MX" dirty="0"/>
            <a:t>Aumenta la disponibilidad de </a:t>
          </a:r>
          <a:r>
            <a:rPr lang="es-MX" b="1" dirty="0">
              <a:solidFill>
                <a:schemeClr val="accent2"/>
              </a:solidFill>
            </a:rPr>
            <a:t>horas de especialistas </a:t>
          </a:r>
          <a:r>
            <a:rPr lang="es-MX" dirty="0"/>
            <a:t>para la APS </a:t>
          </a:r>
          <a:endParaRPr lang="es-CL" dirty="0"/>
        </a:p>
      </dgm:t>
    </dgm:pt>
    <dgm:pt modelId="{99D4A61D-D530-4A26-B700-5DB043B7C9DE}" type="parTrans" cxnId="{973BE309-7FC3-4F75-A0EA-CCDF9B4CC5F0}">
      <dgm:prSet/>
      <dgm:spPr/>
      <dgm:t>
        <a:bodyPr/>
        <a:lstStyle/>
        <a:p>
          <a:endParaRPr lang="es-CL"/>
        </a:p>
      </dgm:t>
    </dgm:pt>
    <dgm:pt modelId="{F7CAE8EF-9809-4612-AE13-5FFBEF19A28E}" type="sibTrans" cxnId="{973BE309-7FC3-4F75-A0EA-CCDF9B4CC5F0}">
      <dgm:prSet/>
      <dgm:spPr/>
      <dgm:t>
        <a:bodyPr/>
        <a:lstStyle/>
        <a:p>
          <a:endParaRPr lang="es-CL"/>
        </a:p>
      </dgm:t>
    </dgm:pt>
    <dgm:pt modelId="{AA4EDF5B-50E3-4079-B27B-41C7DC0C1292}">
      <dgm:prSet phldrT="[Texto]"/>
      <dgm:spPr/>
      <dgm:t>
        <a:bodyPr/>
        <a:lstStyle/>
        <a:p>
          <a:r>
            <a:rPr lang="es-MX" dirty="0"/>
            <a:t>Contribuye a </a:t>
          </a:r>
          <a:r>
            <a:rPr lang="es-MX" b="1" dirty="0">
              <a:solidFill>
                <a:schemeClr val="accent2"/>
              </a:solidFill>
            </a:rPr>
            <a:t>disminuir el tiempo de espera </a:t>
          </a:r>
          <a:r>
            <a:rPr lang="es-MX" dirty="0"/>
            <a:t>para acceder a un especialista </a:t>
          </a:r>
          <a:endParaRPr lang="es-CL" dirty="0"/>
        </a:p>
      </dgm:t>
    </dgm:pt>
    <dgm:pt modelId="{BEE81804-0CEA-45C4-9E64-05B51D50C281}" type="parTrans" cxnId="{D27FDCF0-CCBD-4BF9-B553-DBAF83DA98A8}">
      <dgm:prSet/>
      <dgm:spPr/>
      <dgm:t>
        <a:bodyPr/>
        <a:lstStyle/>
        <a:p>
          <a:endParaRPr lang="es-CL"/>
        </a:p>
      </dgm:t>
    </dgm:pt>
    <dgm:pt modelId="{D659618D-C9E0-43F0-AB7C-28C6F0D6D162}" type="sibTrans" cxnId="{D27FDCF0-CCBD-4BF9-B553-DBAF83DA98A8}">
      <dgm:prSet/>
      <dgm:spPr/>
      <dgm:t>
        <a:bodyPr/>
        <a:lstStyle/>
        <a:p>
          <a:endParaRPr lang="es-CL"/>
        </a:p>
      </dgm:t>
    </dgm:pt>
    <dgm:pt modelId="{23AD0765-985F-4E72-ABBA-B7D6148E6DF7}">
      <dgm:prSet phldrT="[Texto]"/>
      <dgm:spPr/>
      <dgm:t>
        <a:bodyPr/>
        <a:lstStyle/>
        <a:p>
          <a:r>
            <a:rPr lang="es-MX" dirty="0"/>
            <a:t>Aumentar la eficiencia de la atención primaria &gt; </a:t>
          </a:r>
          <a:r>
            <a:rPr lang="es-MX" b="1" dirty="0">
              <a:solidFill>
                <a:schemeClr val="accent2"/>
              </a:solidFill>
            </a:rPr>
            <a:t>Mayor Resolutividad </a:t>
          </a:r>
        </a:p>
      </dgm:t>
    </dgm:pt>
    <dgm:pt modelId="{C7E97445-B8CF-4DF0-B1F3-5B2AB76571FC}" type="parTrans" cxnId="{0C2593C0-022A-49F3-A4D0-EA42A587FBC4}">
      <dgm:prSet/>
      <dgm:spPr/>
      <dgm:t>
        <a:bodyPr/>
        <a:lstStyle/>
        <a:p>
          <a:endParaRPr lang="es-CL"/>
        </a:p>
      </dgm:t>
    </dgm:pt>
    <dgm:pt modelId="{B833EFC3-86E8-47C6-BD4B-975845F9B06C}" type="sibTrans" cxnId="{0C2593C0-022A-49F3-A4D0-EA42A587FBC4}">
      <dgm:prSet/>
      <dgm:spPr/>
      <dgm:t>
        <a:bodyPr/>
        <a:lstStyle/>
        <a:p>
          <a:endParaRPr lang="es-CL"/>
        </a:p>
      </dgm:t>
    </dgm:pt>
    <dgm:pt modelId="{E2D8DD9F-DE00-4A84-ABF4-5CDE5A5B0739}">
      <dgm:prSet phldrT="[Texto]"/>
      <dgm:spPr/>
      <dgm:t>
        <a:bodyPr/>
        <a:lstStyle/>
        <a:p>
          <a:r>
            <a:rPr lang="es-MX" dirty="0"/>
            <a:t>Ayuda a </a:t>
          </a:r>
          <a:r>
            <a:rPr lang="es-MX" b="1" dirty="0">
              <a:solidFill>
                <a:schemeClr val="accent2"/>
              </a:solidFill>
            </a:rPr>
            <a:t>evitar los traslados y gastos </a:t>
          </a:r>
          <a:r>
            <a:rPr lang="es-MX" dirty="0"/>
            <a:t>innecesarios </a:t>
          </a:r>
        </a:p>
      </dgm:t>
    </dgm:pt>
    <dgm:pt modelId="{947F517E-0B67-4C41-A545-F96B52F28E24}" type="parTrans" cxnId="{1D575864-24AC-414D-AA92-23DE9DBE0DE0}">
      <dgm:prSet/>
      <dgm:spPr/>
      <dgm:t>
        <a:bodyPr/>
        <a:lstStyle/>
        <a:p>
          <a:endParaRPr lang="es-CL"/>
        </a:p>
      </dgm:t>
    </dgm:pt>
    <dgm:pt modelId="{1D4952BF-551C-484F-B2BF-C6E4C5FD260B}" type="sibTrans" cxnId="{1D575864-24AC-414D-AA92-23DE9DBE0DE0}">
      <dgm:prSet/>
      <dgm:spPr/>
      <dgm:t>
        <a:bodyPr/>
        <a:lstStyle/>
        <a:p>
          <a:endParaRPr lang="es-CL"/>
        </a:p>
      </dgm:t>
    </dgm:pt>
    <dgm:pt modelId="{CE058FF7-7186-4902-9841-53BDFDECEEB6}">
      <dgm:prSet phldrT="[Texto]"/>
      <dgm:spPr/>
      <dgm:t>
        <a:bodyPr/>
        <a:lstStyle/>
        <a:p>
          <a:r>
            <a:rPr lang="es-MX" dirty="0"/>
            <a:t>Contribuye a </a:t>
          </a:r>
          <a:r>
            <a:rPr lang="es-MX" b="1" dirty="0">
              <a:solidFill>
                <a:schemeClr val="accent2"/>
              </a:solidFill>
            </a:rPr>
            <a:t>descongestionar</a:t>
          </a:r>
          <a:r>
            <a:rPr lang="es-MX" dirty="0"/>
            <a:t> los establecimientos hospitalarios</a:t>
          </a:r>
        </a:p>
      </dgm:t>
    </dgm:pt>
    <dgm:pt modelId="{10DD1346-A68D-4972-845D-3652E0F78754}" type="parTrans" cxnId="{9B696C7F-8195-4987-84D0-7BCC81BE749A}">
      <dgm:prSet/>
      <dgm:spPr/>
      <dgm:t>
        <a:bodyPr/>
        <a:lstStyle/>
        <a:p>
          <a:endParaRPr lang="es-CL"/>
        </a:p>
      </dgm:t>
    </dgm:pt>
    <dgm:pt modelId="{3003DEC8-71CD-41FA-BE92-21C41EF4CCB6}" type="sibTrans" cxnId="{9B696C7F-8195-4987-84D0-7BCC81BE749A}">
      <dgm:prSet/>
      <dgm:spPr/>
      <dgm:t>
        <a:bodyPr/>
        <a:lstStyle/>
        <a:p>
          <a:endParaRPr lang="es-CL"/>
        </a:p>
      </dgm:t>
    </dgm:pt>
    <dgm:pt modelId="{903CCDB0-14AA-4E77-8CFF-59A1832B2AE1}" type="pres">
      <dgm:prSet presAssocID="{929275AF-3CFC-4D6A-A6A5-9EB0BE34A668}" presName="Name0" presStyleCnt="0">
        <dgm:presLayoutVars>
          <dgm:chMax val="7"/>
          <dgm:chPref val="7"/>
          <dgm:dir/>
        </dgm:presLayoutVars>
      </dgm:prSet>
      <dgm:spPr/>
    </dgm:pt>
    <dgm:pt modelId="{BA714F4C-1ACD-431F-A68E-2FF2FED4752B}" type="pres">
      <dgm:prSet presAssocID="{929275AF-3CFC-4D6A-A6A5-9EB0BE34A668}" presName="Name1" presStyleCnt="0"/>
      <dgm:spPr/>
    </dgm:pt>
    <dgm:pt modelId="{9580A969-E3B8-4E9C-9CBF-286E4845D504}" type="pres">
      <dgm:prSet presAssocID="{929275AF-3CFC-4D6A-A6A5-9EB0BE34A668}" presName="cycle" presStyleCnt="0"/>
      <dgm:spPr/>
    </dgm:pt>
    <dgm:pt modelId="{D373E783-1805-4CB3-AAAD-2F0C94A0855D}" type="pres">
      <dgm:prSet presAssocID="{929275AF-3CFC-4D6A-A6A5-9EB0BE34A668}" presName="srcNode" presStyleLbl="node1" presStyleIdx="0" presStyleCnt="5"/>
      <dgm:spPr/>
    </dgm:pt>
    <dgm:pt modelId="{7CAA8EB7-2CEC-43F4-BE3E-27C792E735FD}" type="pres">
      <dgm:prSet presAssocID="{929275AF-3CFC-4D6A-A6A5-9EB0BE34A668}" presName="conn" presStyleLbl="parChTrans1D2" presStyleIdx="0" presStyleCnt="1"/>
      <dgm:spPr/>
    </dgm:pt>
    <dgm:pt modelId="{2CF77E0E-FB14-4023-B9D8-1B1EFAC3D765}" type="pres">
      <dgm:prSet presAssocID="{929275AF-3CFC-4D6A-A6A5-9EB0BE34A668}" presName="extraNode" presStyleLbl="node1" presStyleIdx="0" presStyleCnt="5"/>
      <dgm:spPr/>
    </dgm:pt>
    <dgm:pt modelId="{07893C19-BF7D-4776-A724-81902C114E1E}" type="pres">
      <dgm:prSet presAssocID="{929275AF-3CFC-4D6A-A6A5-9EB0BE34A668}" presName="dstNode" presStyleLbl="node1" presStyleIdx="0" presStyleCnt="5"/>
      <dgm:spPr/>
    </dgm:pt>
    <dgm:pt modelId="{74FB0770-5515-4919-A62A-1AA1248DCEEA}" type="pres">
      <dgm:prSet presAssocID="{7D404114-53A4-4261-B010-F00668DD121A}" presName="text_1" presStyleLbl="node1" presStyleIdx="0" presStyleCnt="5">
        <dgm:presLayoutVars>
          <dgm:bulletEnabled val="1"/>
        </dgm:presLayoutVars>
      </dgm:prSet>
      <dgm:spPr/>
    </dgm:pt>
    <dgm:pt modelId="{7E23DEF8-BF81-4781-A18F-5A280F018E07}" type="pres">
      <dgm:prSet presAssocID="{7D404114-53A4-4261-B010-F00668DD121A}" presName="accent_1" presStyleCnt="0"/>
      <dgm:spPr/>
    </dgm:pt>
    <dgm:pt modelId="{1EC09A93-2760-4F6D-A365-C76EBF8A8872}" type="pres">
      <dgm:prSet presAssocID="{7D404114-53A4-4261-B010-F00668DD121A}" presName="accentRepeatNode" presStyleLbl="solidFgAcc1" presStyleIdx="0" presStyleCnt="5"/>
      <dgm:spPr/>
    </dgm:pt>
    <dgm:pt modelId="{2D5C9692-417B-4ACF-A665-266171D860CF}" type="pres">
      <dgm:prSet presAssocID="{AA4EDF5B-50E3-4079-B27B-41C7DC0C1292}" presName="text_2" presStyleLbl="node1" presStyleIdx="1" presStyleCnt="5">
        <dgm:presLayoutVars>
          <dgm:bulletEnabled val="1"/>
        </dgm:presLayoutVars>
      </dgm:prSet>
      <dgm:spPr/>
    </dgm:pt>
    <dgm:pt modelId="{17EA9F62-CBA1-40C3-8C7F-B27812C0E8AB}" type="pres">
      <dgm:prSet presAssocID="{AA4EDF5B-50E3-4079-B27B-41C7DC0C1292}" presName="accent_2" presStyleCnt="0"/>
      <dgm:spPr/>
    </dgm:pt>
    <dgm:pt modelId="{71E5C622-6906-4365-9447-6F0C4AB1206A}" type="pres">
      <dgm:prSet presAssocID="{AA4EDF5B-50E3-4079-B27B-41C7DC0C1292}" presName="accentRepeatNode" presStyleLbl="solidFgAcc1" presStyleIdx="1" presStyleCnt="5"/>
      <dgm:spPr/>
    </dgm:pt>
    <dgm:pt modelId="{1CB6FCB6-CA2C-49AB-A0DB-84F349D7102F}" type="pres">
      <dgm:prSet presAssocID="{23AD0765-985F-4E72-ABBA-B7D6148E6DF7}" presName="text_3" presStyleLbl="node1" presStyleIdx="2" presStyleCnt="5">
        <dgm:presLayoutVars>
          <dgm:bulletEnabled val="1"/>
        </dgm:presLayoutVars>
      </dgm:prSet>
      <dgm:spPr/>
    </dgm:pt>
    <dgm:pt modelId="{8A8F8CDC-7AAE-4300-8CE4-92A447402C92}" type="pres">
      <dgm:prSet presAssocID="{23AD0765-985F-4E72-ABBA-B7D6148E6DF7}" presName="accent_3" presStyleCnt="0"/>
      <dgm:spPr/>
    </dgm:pt>
    <dgm:pt modelId="{D139DC9C-2610-4B71-AE62-5BF15C1A0900}" type="pres">
      <dgm:prSet presAssocID="{23AD0765-985F-4E72-ABBA-B7D6148E6DF7}" presName="accentRepeatNode" presStyleLbl="solidFgAcc1" presStyleIdx="2" presStyleCnt="5"/>
      <dgm:spPr/>
    </dgm:pt>
    <dgm:pt modelId="{84145C43-43C9-45FA-8EA7-66F9AAB94047}" type="pres">
      <dgm:prSet presAssocID="{E2D8DD9F-DE00-4A84-ABF4-5CDE5A5B0739}" presName="text_4" presStyleLbl="node1" presStyleIdx="3" presStyleCnt="5">
        <dgm:presLayoutVars>
          <dgm:bulletEnabled val="1"/>
        </dgm:presLayoutVars>
      </dgm:prSet>
      <dgm:spPr/>
    </dgm:pt>
    <dgm:pt modelId="{B217A4F3-5169-4425-9E85-F7D4FC96166B}" type="pres">
      <dgm:prSet presAssocID="{E2D8DD9F-DE00-4A84-ABF4-5CDE5A5B0739}" presName="accent_4" presStyleCnt="0"/>
      <dgm:spPr/>
    </dgm:pt>
    <dgm:pt modelId="{A4AC55C9-EC4A-4EED-B3EE-F81D44787D39}" type="pres">
      <dgm:prSet presAssocID="{E2D8DD9F-DE00-4A84-ABF4-5CDE5A5B0739}" presName="accentRepeatNode" presStyleLbl="solidFgAcc1" presStyleIdx="3" presStyleCnt="5"/>
      <dgm:spPr/>
    </dgm:pt>
    <dgm:pt modelId="{4CA6FA2B-5EC9-43FA-8A87-E662F9DF588C}" type="pres">
      <dgm:prSet presAssocID="{CE058FF7-7186-4902-9841-53BDFDECEEB6}" presName="text_5" presStyleLbl="node1" presStyleIdx="4" presStyleCnt="5">
        <dgm:presLayoutVars>
          <dgm:bulletEnabled val="1"/>
        </dgm:presLayoutVars>
      </dgm:prSet>
      <dgm:spPr/>
    </dgm:pt>
    <dgm:pt modelId="{6039BAA4-4766-4BDA-B984-6D65A6EE7CC6}" type="pres">
      <dgm:prSet presAssocID="{CE058FF7-7186-4902-9841-53BDFDECEEB6}" presName="accent_5" presStyleCnt="0"/>
      <dgm:spPr/>
    </dgm:pt>
    <dgm:pt modelId="{448F8D8A-5B36-4E70-9256-A8044A5D367B}" type="pres">
      <dgm:prSet presAssocID="{CE058FF7-7186-4902-9841-53BDFDECEEB6}" presName="accentRepeatNode" presStyleLbl="solidFgAcc1" presStyleIdx="4" presStyleCnt="5"/>
      <dgm:spPr/>
    </dgm:pt>
  </dgm:ptLst>
  <dgm:cxnLst>
    <dgm:cxn modelId="{1C51CF02-31A4-4662-A8BD-411BBA03D788}" type="presOf" srcId="{F7CAE8EF-9809-4612-AE13-5FFBEF19A28E}" destId="{7CAA8EB7-2CEC-43F4-BE3E-27C792E735FD}" srcOrd="0" destOrd="0" presId="urn:microsoft.com/office/officeart/2008/layout/VerticalCurvedList"/>
    <dgm:cxn modelId="{973BE309-7FC3-4F75-A0EA-CCDF9B4CC5F0}" srcId="{929275AF-3CFC-4D6A-A6A5-9EB0BE34A668}" destId="{7D404114-53A4-4261-B010-F00668DD121A}" srcOrd="0" destOrd="0" parTransId="{99D4A61D-D530-4A26-B700-5DB043B7C9DE}" sibTransId="{F7CAE8EF-9809-4612-AE13-5FFBEF19A28E}"/>
    <dgm:cxn modelId="{1D575864-24AC-414D-AA92-23DE9DBE0DE0}" srcId="{929275AF-3CFC-4D6A-A6A5-9EB0BE34A668}" destId="{E2D8DD9F-DE00-4A84-ABF4-5CDE5A5B0739}" srcOrd="3" destOrd="0" parTransId="{947F517E-0B67-4C41-A545-F96B52F28E24}" sibTransId="{1D4952BF-551C-484F-B2BF-C6E4C5FD260B}"/>
    <dgm:cxn modelId="{E086BE46-3128-4CED-9FCB-BAE74B6D745B}" type="presOf" srcId="{CE058FF7-7186-4902-9841-53BDFDECEEB6}" destId="{4CA6FA2B-5EC9-43FA-8A87-E662F9DF588C}" srcOrd="0" destOrd="0" presId="urn:microsoft.com/office/officeart/2008/layout/VerticalCurvedList"/>
    <dgm:cxn modelId="{9497755A-76A8-45D9-B023-7B1F590254F4}" type="presOf" srcId="{7D404114-53A4-4261-B010-F00668DD121A}" destId="{74FB0770-5515-4919-A62A-1AA1248DCEEA}" srcOrd="0" destOrd="0" presId="urn:microsoft.com/office/officeart/2008/layout/VerticalCurvedList"/>
    <dgm:cxn modelId="{9B696C7F-8195-4987-84D0-7BCC81BE749A}" srcId="{929275AF-3CFC-4D6A-A6A5-9EB0BE34A668}" destId="{CE058FF7-7186-4902-9841-53BDFDECEEB6}" srcOrd="4" destOrd="0" parTransId="{10DD1346-A68D-4972-845D-3652E0F78754}" sibTransId="{3003DEC8-71CD-41FA-BE92-21C41EF4CCB6}"/>
    <dgm:cxn modelId="{315162AE-B83C-4D05-B9C6-FF35B7511694}" type="presOf" srcId="{AA4EDF5B-50E3-4079-B27B-41C7DC0C1292}" destId="{2D5C9692-417B-4ACF-A665-266171D860CF}" srcOrd="0" destOrd="0" presId="urn:microsoft.com/office/officeart/2008/layout/VerticalCurvedList"/>
    <dgm:cxn modelId="{71095AB8-97E9-4D04-853C-DF3D47E4F621}" type="presOf" srcId="{E2D8DD9F-DE00-4A84-ABF4-5CDE5A5B0739}" destId="{84145C43-43C9-45FA-8EA7-66F9AAB94047}" srcOrd="0" destOrd="0" presId="urn:microsoft.com/office/officeart/2008/layout/VerticalCurvedList"/>
    <dgm:cxn modelId="{0C2593C0-022A-49F3-A4D0-EA42A587FBC4}" srcId="{929275AF-3CFC-4D6A-A6A5-9EB0BE34A668}" destId="{23AD0765-985F-4E72-ABBA-B7D6148E6DF7}" srcOrd="2" destOrd="0" parTransId="{C7E97445-B8CF-4DF0-B1F3-5B2AB76571FC}" sibTransId="{B833EFC3-86E8-47C6-BD4B-975845F9B06C}"/>
    <dgm:cxn modelId="{F2D97CD9-6CD2-4B57-AD45-4E7FA6F4A16B}" type="presOf" srcId="{23AD0765-985F-4E72-ABBA-B7D6148E6DF7}" destId="{1CB6FCB6-CA2C-49AB-A0DB-84F349D7102F}" srcOrd="0" destOrd="0" presId="urn:microsoft.com/office/officeart/2008/layout/VerticalCurvedList"/>
    <dgm:cxn modelId="{D27FDCF0-CCBD-4BF9-B553-DBAF83DA98A8}" srcId="{929275AF-3CFC-4D6A-A6A5-9EB0BE34A668}" destId="{AA4EDF5B-50E3-4079-B27B-41C7DC0C1292}" srcOrd="1" destOrd="0" parTransId="{BEE81804-0CEA-45C4-9E64-05B51D50C281}" sibTransId="{D659618D-C9E0-43F0-AB7C-28C6F0D6D162}"/>
    <dgm:cxn modelId="{33C324F1-AE46-4C74-B3D2-BA9AA66B5BEA}" type="presOf" srcId="{929275AF-3CFC-4D6A-A6A5-9EB0BE34A668}" destId="{903CCDB0-14AA-4E77-8CFF-59A1832B2AE1}" srcOrd="0" destOrd="0" presId="urn:microsoft.com/office/officeart/2008/layout/VerticalCurvedList"/>
    <dgm:cxn modelId="{204F5F69-4D35-4875-B77B-5DF21926CA36}" type="presParOf" srcId="{903CCDB0-14AA-4E77-8CFF-59A1832B2AE1}" destId="{BA714F4C-1ACD-431F-A68E-2FF2FED4752B}" srcOrd="0" destOrd="0" presId="urn:microsoft.com/office/officeart/2008/layout/VerticalCurvedList"/>
    <dgm:cxn modelId="{102AF827-7580-4BAF-B12B-845B2A98A9FD}" type="presParOf" srcId="{BA714F4C-1ACD-431F-A68E-2FF2FED4752B}" destId="{9580A969-E3B8-4E9C-9CBF-286E4845D504}" srcOrd="0" destOrd="0" presId="urn:microsoft.com/office/officeart/2008/layout/VerticalCurvedList"/>
    <dgm:cxn modelId="{4445F886-C545-4498-B02C-71BE44F5BB53}" type="presParOf" srcId="{9580A969-E3B8-4E9C-9CBF-286E4845D504}" destId="{D373E783-1805-4CB3-AAAD-2F0C94A0855D}" srcOrd="0" destOrd="0" presId="urn:microsoft.com/office/officeart/2008/layout/VerticalCurvedList"/>
    <dgm:cxn modelId="{899733CB-BA58-4ABB-B2C2-9FBEA9C8C5CE}" type="presParOf" srcId="{9580A969-E3B8-4E9C-9CBF-286E4845D504}" destId="{7CAA8EB7-2CEC-43F4-BE3E-27C792E735FD}" srcOrd="1" destOrd="0" presId="urn:microsoft.com/office/officeart/2008/layout/VerticalCurvedList"/>
    <dgm:cxn modelId="{9C0AC0F8-FD17-45B1-BDDE-306A07F75711}" type="presParOf" srcId="{9580A969-E3B8-4E9C-9CBF-286E4845D504}" destId="{2CF77E0E-FB14-4023-B9D8-1B1EFAC3D765}" srcOrd="2" destOrd="0" presId="urn:microsoft.com/office/officeart/2008/layout/VerticalCurvedList"/>
    <dgm:cxn modelId="{7C6C9184-48C3-4850-9041-3379C8F89396}" type="presParOf" srcId="{9580A969-E3B8-4E9C-9CBF-286E4845D504}" destId="{07893C19-BF7D-4776-A724-81902C114E1E}" srcOrd="3" destOrd="0" presId="urn:microsoft.com/office/officeart/2008/layout/VerticalCurvedList"/>
    <dgm:cxn modelId="{B45BA249-ABBA-4550-9A06-D56226C64456}" type="presParOf" srcId="{BA714F4C-1ACD-431F-A68E-2FF2FED4752B}" destId="{74FB0770-5515-4919-A62A-1AA1248DCEEA}" srcOrd="1" destOrd="0" presId="urn:microsoft.com/office/officeart/2008/layout/VerticalCurvedList"/>
    <dgm:cxn modelId="{805F7153-0E8E-48FC-A058-25384D73C97D}" type="presParOf" srcId="{BA714F4C-1ACD-431F-A68E-2FF2FED4752B}" destId="{7E23DEF8-BF81-4781-A18F-5A280F018E07}" srcOrd="2" destOrd="0" presId="urn:microsoft.com/office/officeart/2008/layout/VerticalCurvedList"/>
    <dgm:cxn modelId="{A5653F3B-CF36-4B67-8A18-1B136968CCC2}" type="presParOf" srcId="{7E23DEF8-BF81-4781-A18F-5A280F018E07}" destId="{1EC09A93-2760-4F6D-A365-C76EBF8A8872}" srcOrd="0" destOrd="0" presId="urn:microsoft.com/office/officeart/2008/layout/VerticalCurvedList"/>
    <dgm:cxn modelId="{ABA7ED4E-6DB9-44E4-9751-CFE6C647CF0E}" type="presParOf" srcId="{BA714F4C-1ACD-431F-A68E-2FF2FED4752B}" destId="{2D5C9692-417B-4ACF-A665-266171D860CF}" srcOrd="3" destOrd="0" presId="urn:microsoft.com/office/officeart/2008/layout/VerticalCurvedList"/>
    <dgm:cxn modelId="{83DF8B6F-5D8C-4A7F-AE44-543C7D819FE3}" type="presParOf" srcId="{BA714F4C-1ACD-431F-A68E-2FF2FED4752B}" destId="{17EA9F62-CBA1-40C3-8C7F-B27812C0E8AB}" srcOrd="4" destOrd="0" presId="urn:microsoft.com/office/officeart/2008/layout/VerticalCurvedList"/>
    <dgm:cxn modelId="{1D31FE41-1B5F-4B2F-AC34-BD5309AECE12}" type="presParOf" srcId="{17EA9F62-CBA1-40C3-8C7F-B27812C0E8AB}" destId="{71E5C622-6906-4365-9447-6F0C4AB1206A}" srcOrd="0" destOrd="0" presId="urn:microsoft.com/office/officeart/2008/layout/VerticalCurvedList"/>
    <dgm:cxn modelId="{88E11C6E-172F-466D-80F5-07A1AEC2F30C}" type="presParOf" srcId="{BA714F4C-1ACD-431F-A68E-2FF2FED4752B}" destId="{1CB6FCB6-CA2C-49AB-A0DB-84F349D7102F}" srcOrd="5" destOrd="0" presId="urn:microsoft.com/office/officeart/2008/layout/VerticalCurvedList"/>
    <dgm:cxn modelId="{37ED09D3-49F1-4F72-9F71-5B031BB96637}" type="presParOf" srcId="{BA714F4C-1ACD-431F-A68E-2FF2FED4752B}" destId="{8A8F8CDC-7AAE-4300-8CE4-92A447402C92}" srcOrd="6" destOrd="0" presId="urn:microsoft.com/office/officeart/2008/layout/VerticalCurvedList"/>
    <dgm:cxn modelId="{95F2B0BC-92C8-4EBC-8458-A76BE0894A96}" type="presParOf" srcId="{8A8F8CDC-7AAE-4300-8CE4-92A447402C92}" destId="{D139DC9C-2610-4B71-AE62-5BF15C1A0900}" srcOrd="0" destOrd="0" presId="urn:microsoft.com/office/officeart/2008/layout/VerticalCurvedList"/>
    <dgm:cxn modelId="{7C05D99C-EA0A-4543-8F5F-2FC3810B890E}" type="presParOf" srcId="{BA714F4C-1ACD-431F-A68E-2FF2FED4752B}" destId="{84145C43-43C9-45FA-8EA7-66F9AAB94047}" srcOrd="7" destOrd="0" presId="urn:microsoft.com/office/officeart/2008/layout/VerticalCurvedList"/>
    <dgm:cxn modelId="{FFCA5A32-591F-402B-B5B6-4F95D96C6DFC}" type="presParOf" srcId="{BA714F4C-1ACD-431F-A68E-2FF2FED4752B}" destId="{B217A4F3-5169-4425-9E85-F7D4FC96166B}" srcOrd="8" destOrd="0" presId="urn:microsoft.com/office/officeart/2008/layout/VerticalCurvedList"/>
    <dgm:cxn modelId="{AAAE5E61-7A0C-41D7-9BB4-395686D9E9F7}" type="presParOf" srcId="{B217A4F3-5169-4425-9E85-F7D4FC96166B}" destId="{A4AC55C9-EC4A-4EED-B3EE-F81D44787D39}" srcOrd="0" destOrd="0" presId="urn:microsoft.com/office/officeart/2008/layout/VerticalCurvedList"/>
    <dgm:cxn modelId="{A8F06A51-4B99-409D-AC06-3417879998A2}" type="presParOf" srcId="{BA714F4C-1ACD-431F-A68E-2FF2FED4752B}" destId="{4CA6FA2B-5EC9-43FA-8A87-E662F9DF588C}" srcOrd="9" destOrd="0" presId="urn:microsoft.com/office/officeart/2008/layout/VerticalCurvedList"/>
    <dgm:cxn modelId="{5B30047C-9DBE-4157-A426-98E70B18E31B}" type="presParOf" srcId="{BA714F4C-1ACD-431F-A68E-2FF2FED4752B}" destId="{6039BAA4-4766-4BDA-B984-6D65A6EE7CC6}" srcOrd="10" destOrd="0" presId="urn:microsoft.com/office/officeart/2008/layout/VerticalCurvedList"/>
    <dgm:cxn modelId="{4BF38677-DDEA-43BD-ADBC-8A6736E361AC}" type="presParOf" srcId="{6039BAA4-4766-4BDA-B984-6D65A6EE7CC6}" destId="{448F8D8A-5B36-4E70-9256-A8044A5D367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4D3C033-A6CF-418B-9CA2-788BC8EC1656}" type="doc">
      <dgm:prSet loTypeId="urn:microsoft.com/office/officeart/2005/8/layout/venn3" loCatId="relationship" qsTypeId="urn:microsoft.com/office/officeart/2005/8/quickstyle/simple2" qsCatId="simple" csTypeId="urn:microsoft.com/office/officeart/2005/8/colors/colorful4" csCatId="colorful" phldr="1"/>
      <dgm:spPr/>
    </dgm:pt>
    <dgm:pt modelId="{1657196A-01D8-4EE6-BCD4-6E82C26435A8}">
      <dgm:prSet/>
      <dgm:spPr/>
      <dgm:t>
        <a:bodyPr/>
        <a:lstStyle/>
        <a:p>
          <a:r>
            <a:rPr lang="es-CL" b="1" dirty="0">
              <a:solidFill>
                <a:srgbClr val="587682"/>
              </a:solidFill>
            </a:rPr>
            <a:t>Médicos  APS </a:t>
          </a:r>
        </a:p>
      </dgm:t>
    </dgm:pt>
    <dgm:pt modelId="{096DA5D7-4A2A-4DF6-AA42-5B38AD019676}" type="parTrans" cxnId="{ED8C0244-2FE9-40A1-B179-7805A47AE712}">
      <dgm:prSet/>
      <dgm:spPr/>
      <dgm:t>
        <a:bodyPr/>
        <a:lstStyle/>
        <a:p>
          <a:endParaRPr lang="es-CL"/>
        </a:p>
      </dgm:t>
    </dgm:pt>
    <dgm:pt modelId="{36B886C4-F77D-44BF-93BD-8A87EE16D9B7}" type="sibTrans" cxnId="{ED8C0244-2FE9-40A1-B179-7805A47AE712}">
      <dgm:prSet/>
      <dgm:spPr/>
      <dgm:t>
        <a:bodyPr/>
        <a:lstStyle/>
        <a:p>
          <a:endParaRPr lang="es-CL"/>
        </a:p>
      </dgm:t>
    </dgm:pt>
    <dgm:pt modelId="{FD32DFE5-7CBF-4D0C-8F03-C8DC601A73EE}">
      <dgm:prSet/>
      <dgm:spPr/>
      <dgm:t>
        <a:bodyPr/>
        <a:lstStyle/>
        <a:p>
          <a:r>
            <a:rPr lang="es-CL" b="1" dirty="0">
              <a:solidFill>
                <a:srgbClr val="587682"/>
              </a:solidFill>
            </a:rPr>
            <a:t>Especialista HD y Red</a:t>
          </a:r>
        </a:p>
      </dgm:t>
    </dgm:pt>
    <dgm:pt modelId="{2D0B1E0E-2F48-4D95-A445-063862E1A173}" type="parTrans" cxnId="{8C9B4F49-393B-4B07-8555-8690DBA4BE90}">
      <dgm:prSet/>
      <dgm:spPr/>
      <dgm:t>
        <a:bodyPr/>
        <a:lstStyle/>
        <a:p>
          <a:endParaRPr lang="es-CL"/>
        </a:p>
      </dgm:t>
    </dgm:pt>
    <dgm:pt modelId="{2F6BC3D2-1BA4-4F9A-8323-B074B84378A8}" type="sibTrans" cxnId="{8C9B4F49-393B-4B07-8555-8690DBA4BE90}">
      <dgm:prSet/>
      <dgm:spPr/>
      <dgm:t>
        <a:bodyPr/>
        <a:lstStyle/>
        <a:p>
          <a:endParaRPr lang="es-CL"/>
        </a:p>
      </dgm:t>
    </dgm:pt>
    <dgm:pt modelId="{11D97DB0-D155-4E34-BBB5-3BA12AF126C9}">
      <dgm:prSet/>
      <dgm:spPr/>
      <dgm:t>
        <a:bodyPr/>
        <a:lstStyle/>
        <a:p>
          <a:r>
            <a:rPr lang="es-CL" b="1" dirty="0">
              <a:solidFill>
                <a:srgbClr val="587682"/>
              </a:solidFill>
            </a:rPr>
            <a:t>SOME Atención Primaria</a:t>
          </a:r>
        </a:p>
      </dgm:t>
    </dgm:pt>
    <dgm:pt modelId="{28BF25B3-B334-4B6B-85B7-D83590011746}" type="parTrans" cxnId="{B11C53FA-47A6-47DD-97F2-498C4AE41F35}">
      <dgm:prSet/>
      <dgm:spPr/>
      <dgm:t>
        <a:bodyPr/>
        <a:lstStyle/>
        <a:p>
          <a:endParaRPr lang="es-CL"/>
        </a:p>
      </dgm:t>
    </dgm:pt>
    <dgm:pt modelId="{164E8B8B-04B5-4E22-B169-667A109DE379}" type="sibTrans" cxnId="{B11C53FA-47A6-47DD-97F2-498C4AE41F35}">
      <dgm:prSet/>
      <dgm:spPr/>
      <dgm:t>
        <a:bodyPr/>
        <a:lstStyle/>
        <a:p>
          <a:endParaRPr lang="es-CL"/>
        </a:p>
      </dgm:t>
    </dgm:pt>
    <dgm:pt modelId="{EF1F29E8-5C31-4996-81EF-D3FE1FCF6AC4}">
      <dgm:prSet/>
      <dgm:spPr/>
      <dgm:t>
        <a:bodyPr/>
        <a:lstStyle/>
        <a:p>
          <a:r>
            <a:rPr lang="es-CL" b="1" dirty="0">
              <a:solidFill>
                <a:srgbClr val="587682"/>
              </a:solidFill>
            </a:rPr>
            <a:t>SOME Atención Secundaria</a:t>
          </a:r>
        </a:p>
      </dgm:t>
    </dgm:pt>
    <dgm:pt modelId="{1F2A3998-29F0-4F55-A2D3-674D01773BBC}" type="parTrans" cxnId="{8179FD96-48AE-4C03-BCB0-BA682127DF18}">
      <dgm:prSet/>
      <dgm:spPr/>
      <dgm:t>
        <a:bodyPr/>
        <a:lstStyle/>
        <a:p>
          <a:endParaRPr lang="es-CL"/>
        </a:p>
      </dgm:t>
    </dgm:pt>
    <dgm:pt modelId="{1B7A8867-D091-473A-BBBF-D428BAC91188}" type="sibTrans" cxnId="{8179FD96-48AE-4C03-BCB0-BA682127DF18}">
      <dgm:prSet/>
      <dgm:spPr/>
      <dgm:t>
        <a:bodyPr/>
        <a:lstStyle/>
        <a:p>
          <a:endParaRPr lang="es-CL"/>
        </a:p>
      </dgm:t>
    </dgm:pt>
    <dgm:pt modelId="{C22EE6E8-84E2-4F5F-9C9B-230CE233023C}">
      <dgm:prSet/>
      <dgm:spPr/>
      <dgm:t>
        <a:bodyPr/>
        <a:lstStyle/>
        <a:p>
          <a:r>
            <a:rPr lang="es-CL" b="1" dirty="0">
              <a:solidFill>
                <a:srgbClr val="587682"/>
              </a:solidFill>
            </a:rPr>
            <a:t>Referente Salud Digital SSI </a:t>
          </a:r>
        </a:p>
      </dgm:t>
    </dgm:pt>
    <dgm:pt modelId="{00712F6E-ED42-4711-B577-D716A4DCB678}" type="parTrans" cxnId="{2DD45C7F-3583-4A03-AD74-D31FA11A9B5E}">
      <dgm:prSet/>
      <dgm:spPr/>
      <dgm:t>
        <a:bodyPr/>
        <a:lstStyle/>
        <a:p>
          <a:endParaRPr lang="es-CL"/>
        </a:p>
      </dgm:t>
    </dgm:pt>
    <dgm:pt modelId="{7918ADA9-F4E4-4742-A474-0D73CFCD9BAF}" type="sibTrans" cxnId="{2DD45C7F-3583-4A03-AD74-D31FA11A9B5E}">
      <dgm:prSet/>
      <dgm:spPr/>
      <dgm:t>
        <a:bodyPr/>
        <a:lstStyle/>
        <a:p>
          <a:endParaRPr lang="es-CL"/>
        </a:p>
      </dgm:t>
    </dgm:pt>
    <dgm:pt modelId="{8784A7BC-003B-47AB-92C7-45C1319B893E}">
      <dgm:prSet/>
      <dgm:spPr/>
      <dgm:t>
        <a:bodyPr/>
        <a:lstStyle/>
        <a:p>
          <a:r>
            <a:rPr lang="es-CL" b="1" dirty="0">
              <a:solidFill>
                <a:srgbClr val="587682"/>
              </a:solidFill>
            </a:rPr>
            <a:t>Directores de Célula</a:t>
          </a:r>
        </a:p>
      </dgm:t>
    </dgm:pt>
    <dgm:pt modelId="{C1360829-9A1D-4B43-86F1-9E5BA820C804}" type="parTrans" cxnId="{1043B372-0BC1-4CDB-BE06-307002ABD07F}">
      <dgm:prSet/>
      <dgm:spPr/>
      <dgm:t>
        <a:bodyPr/>
        <a:lstStyle/>
        <a:p>
          <a:endParaRPr lang="es-CL"/>
        </a:p>
      </dgm:t>
    </dgm:pt>
    <dgm:pt modelId="{2A1D664A-94D3-4516-B986-5341E7215A26}" type="sibTrans" cxnId="{1043B372-0BC1-4CDB-BE06-307002ABD07F}">
      <dgm:prSet/>
      <dgm:spPr/>
      <dgm:t>
        <a:bodyPr/>
        <a:lstStyle/>
        <a:p>
          <a:endParaRPr lang="es-CL"/>
        </a:p>
      </dgm:t>
    </dgm:pt>
    <dgm:pt modelId="{632F3628-0E8B-4D37-8AED-9D806113BC2A}">
      <dgm:prSet/>
      <dgm:spPr/>
      <dgm:t>
        <a:bodyPr/>
        <a:lstStyle/>
        <a:p>
          <a:r>
            <a:rPr lang="es-MX" b="1" dirty="0">
              <a:solidFill>
                <a:srgbClr val="587682"/>
              </a:solidFill>
            </a:rPr>
            <a:t>Implementador Hospital Digital SSI </a:t>
          </a:r>
          <a:endParaRPr lang="es-CL" b="1" dirty="0">
            <a:solidFill>
              <a:srgbClr val="587682"/>
            </a:solidFill>
          </a:endParaRPr>
        </a:p>
      </dgm:t>
    </dgm:pt>
    <dgm:pt modelId="{0A30F515-FA77-4257-9FD3-A2B4C0E33139}" type="parTrans" cxnId="{596DD6AB-9E46-49FD-A095-240D1304FDB3}">
      <dgm:prSet/>
      <dgm:spPr/>
      <dgm:t>
        <a:bodyPr/>
        <a:lstStyle/>
        <a:p>
          <a:endParaRPr lang="es-CL"/>
        </a:p>
      </dgm:t>
    </dgm:pt>
    <dgm:pt modelId="{AE059176-408D-42D7-94C0-A3BD7BC354AF}" type="sibTrans" cxnId="{596DD6AB-9E46-49FD-A095-240D1304FDB3}">
      <dgm:prSet/>
      <dgm:spPr/>
      <dgm:t>
        <a:bodyPr/>
        <a:lstStyle/>
        <a:p>
          <a:endParaRPr lang="es-CL"/>
        </a:p>
      </dgm:t>
    </dgm:pt>
    <dgm:pt modelId="{9D9BC758-B4FC-465C-A847-9443C112B2F0}">
      <dgm:prSet/>
      <dgm:spPr/>
      <dgm:t>
        <a:bodyPr/>
        <a:lstStyle/>
        <a:p>
          <a:r>
            <a:rPr lang="es-MX" b="1" dirty="0">
              <a:solidFill>
                <a:srgbClr val="587682"/>
              </a:solidFill>
            </a:rPr>
            <a:t>Referentes SST</a:t>
          </a:r>
          <a:endParaRPr lang="es-CL" b="1" dirty="0">
            <a:solidFill>
              <a:srgbClr val="587682"/>
            </a:solidFill>
          </a:endParaRPr>
        </a:p>
      </dgm:t>
    </dgm:pt>
    <dgm:pt modelId="{AC4C8CE2-6B65-43A8-B2DB-3271E374F29F}" type="parTrans" cxnId="{29ECAAB4-663A-436C-AA7A-EBF0497C05E9}">
      <dgm:prSet/>
      <dgm:spPr/>
      <dgm:t>
        <a:bodyPr/>
        <a:lstStyle/>
        <a:p>
          <a:endParaRPr lang="es-CL"/>
        </a:p>
      </dgm:t>
    </dgm:pt>
    <dgm:pt modelId="{4551DF26-6707-4E4A-B939-4E340612B761}" type="sibTrans" cxnId="{29ECAAB4-663A-436C-AA7A-EBF0497C05E9}">
      <dgm:prSet/>
      <dgm:spPr/>
      <dgm:t>
        <a:bodyPr/>
        <a:lstStyle/>
        <a:p>
          <a:endParaRPr lang="es-CL"/>
        </a:p>
      </dgm:t>
    </dgm:pt>
    <dgm:pt modelId="{175574AA-E003-43C5-81B1-820A53C62B2D}" type="pres">
      <dgm:prSet presAssocID="{B4D3C033-A6CF-418B-9CA2-788BC8EC1656}" presName="Name0" presStyleCnt="0">
        <dgm:presLayoutVars>
          <dgm:dir/>
          <dgm:resizeHandles val="exact"/>
        </dgm:presLayoutVars>
      </dgm:prSet>
      <dgm:spPr/>
    </dgm:pt>
    <dgm:pt modelId="{625AB736-39C5-4EAF-8B0F-4B32469E2427}" type="pres">
      <dgm:prSet presAssocID="{1657196A-01D8-4EE6-BCD4-6E82C26435A8}" presName="Name5" presStyleLbl="vennNode1" presStyleIdx="0" presStyleCnt="8">
        <dgm:presLayoutVars>
          <dgm:bulletEnabled val="1"/>
        </dgm:presLayoutVars>
      </dgm:prSet>
      <dgm:spPr/>
    </dgm:pt>
    <dgm:pt modelId="{83AA1664-07D1-405C-9986-27B90A27C226}" type="pres">
      <dgm:prSet presAssocID="{36B886C4-F77D-44BF-93BD-8A87EE16D9B7}" presName="space" presStyleCnt="0"/>
      <dgm:spPr/>
    </dgm:pt>
    <dgm:pt modelId="{460DC4DE-4AE2-46A4-A929-3F9B1DADDC7B}" type="pres">
      <dgm:prSet presAssocID="{FD32DFE5-7CBF-4D0C-8F03-C8DC601A73EE}" presName="Name5" presStyleLbl="vennNode1" presStyleIdx="1" presStyleCnt="8">
        <dgm:presLayoutVars>
          <dgm:bulletEnabled val="1"/>
        </dgm:presLayoutVars>
      </dgm:prSet>
      <dgm:spPr/>
    </dgm:pt>
    <dgm:pt modelId="{2323757C-02AF-4AC3-9235-379E905AD3EE}" type="pres">
      <dgm:prSet presAssocID="{2F6BC3D2-1BA4-4F9A-8323-B074B84378A8}" presName="space" presStyleCnt="0"/>
      <dgm:spPr/>
    </dgm:pt>
    <dgm:pt modelId="{6DE996C5-00BF-4063-BAE3-B1F4B4C862EE}" type="pres">
      <dgm:prSet presAssocID="{11D97DB0-D155-4E34-BBB5-3BA12AF126C9}" presName="Name5" presStyleLbl="vennNode1" presStyleIdx="2" presStyleCnt="8">
        <dgm:presLayoutVars>
          <dgm:bulletEnabled val="1"/>
        </dgm:presLayoutVars>
      </dgm:prSet>
      <dgm:spPr/>
    </dgm:pt>
    <dgm:pt modelId="{65AF6B33-0289-4EFC-8080-635E485E1D61}" type="pres">
      <dgm:prSet presAssocID="{164E8B8B-04B5-4E22-B169-667A109DE379}" presName="space" presStyleCnt="0"/>
      <dgm:spPr/>
    </dgm:pt>
    <dgm:pt modelId="{5379462B-3F83-4335-9AD5-B510E45A9897}" type="pres">
      <dgm:prSet presAssocID="{EF1F29E8-5C31-4996-81EF-D3FE1FCF6AC4}" presName="Name5" presStyleLbl="vennNode1" presStyleIdx="3" presStyleCnt="8">
        <dgm:presLayoutVars>
          <dgm:bulletEnabled val="1"/>
        </dgm:presLayoutVars>
      </dgm:prSet>
      <dgm:spPr/>
    </dgm:pt>
    <dgm:pt modelId="{072CAC08-85CC-4CC4-A5A9-0CC53A564620}" type="pres">
      <dgm:prSet presAssocID="{1B7A8867-D091-473A-BBBF-D428BAC91188}" presName="space" presStyleCnt="0"/>
      <dgm:spPr/>
    </dgm:pt>
    <dgm:pt modelId="{F14F0299-04B5-4EFD-89F0-778C3DE25814}" type="pres">
      <dgm:prSet presAssocID="{C22EE6E8-84E2-4F5F-9C9B-230CE233023C}" presName="Name5" presStyleLbl="vennNode1" presStyleIdx="4" presStyleCnt="8">
        <dgm:presLayoutVars>
          <dgm:bulletEnabled val="1"/>
        </dgm:presLayoutVars>
      </dgm:prSet>
      <dgm:spPr/>
    </dgm:pt>
    <dgm:pt modelId="{9A8D73D0-26E2-436E-903B-774ED9529CC4}" type="pres">
      <dgm:prSet presAssocID="{7918ADA9-F4E4-4742-A474-0D73CFCD9BAF}" presName="space" presStyleCnt="0"/>
      <dgm:spPr/>
    </dgm:pt>
    <dgm:pt modelId="{06B6EAF4-5F66-45DA-A2C9-B92F9FFE428D}" type="pres">
      <dgm:prSet presAssocID="{9D9BC758-B4FC-465C-A847-9443C112B2F0}" presName="Name5" presStyleLbl="vennNode1" presStyleIdx="5" presStyleCnt="8">
        <dgm:presLayoutVars>
          <dgm:bulletEnabled val="1"/>
        </dgm:presLayoutVars>
      </dgm:prSet>
      <dgm:spPr/>
    </dgm:pt>
    <dgm:pt modelId="{6C90D3D4-1E13-4C28-AD5C-11B89A0E80A4}" type="pres">
      <dgm:prSet presAssocID="{4551DF26-6707-4E4A-B939-4E340612B761}" presName="space" presStyleCnt="0"/>
      <dgm:spPr/>
    </dgm:pt>
    <dgm:pt modelId="{240D752E-818F-4921-B0F1-F7EAC1D6B5C3}" type="pres">
      <dgm:prSet presAssocID="{632F3628-0E8B-4D37-8AED-9D806113BC2A}" presName="Name5" presStyleLbl="vennNode1" presStyleIdx="6" presStyleCnt="8">
        <dgm:presLayoutVars>
          <dgm:bulletEnabled val="1"/>
        </dgm:presLayoutVars>
      </dgm:prSet>
      <dgm:spPr/>
    </dgm:pt>
    <dgm:pt modelId="{AA11443C-D1D1-4DFB-9EBD-2CC15F19C432}" type="pres">
      <dgm:prSet presAssocID="{AE059176-408D-42D7-94C0-A3BD7BC354AF}" presName="space" presStyleCnt="0"/>
      <dgm:spPr/>
    </dgm:pt>
    <dgm:pt modelId="{550CD8A7-DFAD-4FC8-B1A0-B20763656C52}" type="pres">
      <dgm:prSet presAssocID="{8784A7BC-003B-47AB-92C7-45C1319B893E}" presName="Name5" presStyleLbl="vennNode1" presStyleIdx="7" presStyleCnt="8">
        <dgm:presLayoutVars>
          <dgm:bulletEnabled val="1"/>
        </dgm:presLayoutVars>
      </dgm:prSet>
      <dgm:spPr/>
    </dgm:pt>
  </dgm:ptLst>
  <dgm:cxnLst>
    <dgm:cxn modelId="{1FC13E01-D8AF-41B6-82AE-D81073AAD767}" type="presOf" srcId="{9D9BC758-B4FC-465C-A847-9443C112B2F0}" destId="{06B6EAF4-5F66-45DA-A2C9-B92F9FFE428D}" srcOrd="0" destOrd="0" presId="urn:microsoft.com/office/officeart/2005/8/layout/venn3"/>
    <dgm:cxn modelId="{DCA77605-37A6-4A77-92AC-8FBC51F52469}" type="presOf" srcId="{C22EE6E8-84E2-4F5F-9C9B-230CE233023C}" destId="{F14F0299-04B5-4EFD-89F0-778C3DE25814}" srcOrd="0" destOrd="0" presId="urn:microsoft.com/office/officeart/2005/8/layout/venn3"/>
    <dgm:cxn modelId="{411FD118-D21F-41C9-AB63-0E9557C64B6A}" type="presOf" srcId="{B4D3C033-A6CF-418B-9CA2-788BC8EC1656}" destId="{175574AA-E003-43C5-81B1-820A53C62B2D}" srcOrd="0" destOrd="0" presId="urn:microsoft.com/office/officeart/2005/8/layout/venn3"/>
    <dgm:cxn modelId="{7A57FE61-502B-4FDC-AA2F-864C407230CC}" type="presOf" srcId="{632F3628-0E8B-4D37-8AED-9D806113BC2A}" destId="{240D752E-818F-4921-B0F1-F7EAC1D6B5C3}" srcOrd="0" destOrd="0" presId="urn:microsoft.com/office/officeart/2005/8/layout/venn3"/>
    <dgm:cxn modelId="{ED8C0244-2FE9-40A1-B179-7805A47AE712}" srcId="{B4D3C033-A6CF-418B-9CA2-788BC8EC1656}" destId="{1657196A-01D8-4EE6-BCD4-6E82C26435A8}" srcOrd="0" destOrd="0" parTransId="{096DA5D7-4A2A-4DF6-AA42-5B38AD019676}" sibTransId="{36B886C4-F77D-44BF-93BD-8A87EE16D9B7}"/>
    <dgm:cxn modelId="{8C9B4F49-393B-4B07-8555-8690DBA4BE90}" srcId="{B4D3C033-A6CF-418B-9CA2-788BC8EC1656}" destId="{FD32DFE5-7CBF-4D0C-8F03-C8DC601A73EE}" srcOrd="1" destOrd="0" parTransId="{2D0B1E0E-2F48-4D95-A445-063862E1A173}" sibTransId="{2F6BC3D2-1BA4-4F9A-8323-B074B84378A8}"/>
    <dgm:cxn modelId="{1043B372-0BC1-4CDB-BE06-307002ABD07F}" srcId="{B4D3C033-A6CF-418B-9CA2-788BC8EC1656}" destId="{8784A7BC-003B-47AB-92C7-45C1319B893E}" srcOrd="7" destOrd="0" parTransId="{C1360829-9A1D-4B43-86F1-9E5BA820C804}" sibTransId="{2A1D664A-94D3-4516-B986-5341E7215A26}"/>
    <dgm:cxn modelId="{73D58474-02B9-4ACA-9095-66EB6EF5406A}" type="presOf" srcId="{11D97DB0-D155-4E34-BBB5-3BA12AF126C9}" destId="{6DE996C5-00BF-4063-BAE3-B1F4B4C862EE}" srcOrd="0" destOrd="0" presId="urn:microsoft.com/office/officeart/2005/8/layout/venn3"/>
    <dgm:cxn modelId="{2DD45C7F-3583-4A03-AD74-D31FA11A9B5E}" srcId="{B4D3C033-A6CF-418B-9CA2-788BC8EC1656}" destId="{C22EE6E8-84E2-4F5F-9C9B-230CE233023C}" srcOrd="4" destOrd="0" parTransId="{00712F6E-ED42-4711-B577-D716A4DCB678}" sibTransId="{7918ADA9-F4E4-4742-A474-0D73CFCD9BAF}"/>
    <dgm:cxn modelId="{7043168F-9E46-4C55-A13B-B8609E10D215}" type="presOf" srcId="{8784A7BC-003B-47AB-92C7-45C1319B893E}" destId="{550CD8A7-DFAD-4FC8-B1A0-B20763656C52}" srcOrd="0" destOrd="0" presId="urn:microsoft.com/office/officeart/2005/8/layout/venn3"/>
    <dgm:cxn modelId="{41D0F495-7A7E-45AD-80FE-AD155E757C54}" type="presOf" srcId="{1657196A-01D8-4EE6-BCD4-6E82C26435A8}" destId="{625AB736-39C5-4EAF-8B0F-4B32469E2427}" srcOrd="0" destOrd="0" presId="urn:microsoft.com/office/officeart/2005/8/layout/venn3"/>
    <dgm:cxn modelId="{8179FD96-48AE-4C03-BCB0-BA682127DF18}" srcId="{B4D3C033-A6CF-418B-9CA2-788BC8EC1656}" destId="{EF1F29E8-5C31-4996-81EF-D3FE1FCF6AC4}" srcOrd="3" destOrd="0" parTransId="{1F2A3998-29F0-4F55-A2D3-674D01773BBC}" sibTransId="{1B7A8867-D091-473A-BBBF-D428BAC91188}"/>
    <dgm:cxn modelId="{596DD6AB-9E46-49FD-A095-240D1304FDB3}" srcId="{B4D3C033-A6CF-418B-9CA2-788BC8EC1656}" destId="{632F3628-0E8B-4D37-8AED-9D806113BC2A}" srcOrd="6" destOrd="0" parTransId="{0A30F515-FA77-4257-9FD3-A2B4C0E33139}" sibTransId="{AE059176-408D-42D7-94C0-A3BD7BC354AF}"/>
    <dgm:cxn modelId="{29ECAAB4-663A-436C-AA7A-EBF0497C05E9}" srcId="{B4D3C033-A6CF-418B-9CA2-788BC8EC1656}" destId="{9D9BC758-B4FC-465C-A847-9443C112B2F0}" srcOrd="5" destOrd="0" parTransId="{AC4C8CE2-6B65-43A8-B2DB-3271E374F29F}" sibTransId="{4551DF26-6707-4E4A-B939-4E340612B761}"/>
    <dgm:cxn modelId="{49A4A9C3-5326-4358-A820-6248709AEDF8}" type="presOf" srcId="{FD32DFE5-7CBF-4D0C-8F03-C8DC601A73EE}" destId="{460DC4DE-4AE2-46A4-A929-3F9B1DADDC7B}" srcOrd="0" destOrd="0" presId="urn:microsoft.com/office/officeart/2005/8/layout/venn3"/>
    <dgm:cxn modelId="{934385CD-C3EC-4022-827D-A429CC954A2E}" type="presOf" srcId="{EF1F29E8-5C31-4996-81EF-D3FE1FCF6AC4}" destId="{5379462B-3F83-4335-9AD5-B510E45A9897}" srcOrd="0" destOrd="0" presId="urn:microsoft.com/office/officeart/2005/8/layout/venn3"/>
    <dgm:cxn modelId="{B11C53FA-47A6-47DD-97F2-498C4AE41F35}" srcId="{B4D3C033-A6CF-418B-9CA2-788BC8EC1656}" destId="{11D97DB0-D155-4E34-BBB5-3BA12AF126C9}" srcOrd="2" destOrd="0" parTransId="{28BF25B3-B334-4B6B-85B7-D83590011746}" sibTransId="{164E8B8B-04B5-4E22-B169-667A109DE379}"/>
    <dgm:cxn modelId="{C82EDEDF-8DF4-4BD3-94B6-3BFD4EAFB7D9}" type="presParOf" srcId="{175574AA-E003-43C5-81B1-820A53C62B2D}" destId="{625AB736-39C5-4EAF-8B0F-4B32469E2427}" srcOrd="0" destOrd="0" presId="urn:microsoft.com/office/officeart/2005/8/layout/venn3"/>
    <dgm:cxn modelId="{F153CE13-C55D-4FA8-87DF-29F246C37E2D}" type="presParOf" srcId="{175574AA-E003-43C5-81B1-820A53C62B2D}" destId="{83AA1664-07D1-405C-9986-27B90A27C226}" srcOrd="1" destOrd="0" presId="urn:microsoft.com/office/officeart/2005/8/layout/venn3"/>
    <dgm:cxn modelId="{2FF8ED99-D6AA-406F-933E-4A3408668026}" type="presParOf" srcId="{175574AA-E003-43C5-81B1-820A53C62B2D}" destId="{460DC4DE-4AE2-46A4-A929-3F9B1DADDC7B}" srcOrd="2" destOrd="0" presId="urn:microsoft.com/office/officeart/2005/8/layout/venn3"/>
    <dgm:cxn modelId="{A5E27408-6790-4188-9A0E-454EE1E188DE}" type="presParOf" srcId="{175574AA-E003-43C5-81B1-820A53C62B2D}" destId="{2323757C-02AF-4AC3-9235-379E905AD3EE}" srcOrd="3" destOrd="0" presId="urn:microsoft.com/office/officeart/2005/8/layout/venn3"/>
    <dgm:cxn modelId="{0391D6BB-AB0B-4C44-B95B-D165F69EFE7E}" type="presParOf" srcId="{175574AA-E003-43C5-81B1-820A53C62B2D}" destId="{6DE996C5-00BF-4063-BAE3-B1F4B4C862EE}" srcOrd="4" destOrd="0" presId="urn:microsoft.com/office/officeart/2005/8/layout/venn3"/>
    <dgm:cxn modelId="{0238D289-97BE-40AE-9760-1EBD9DDCC095}" type="presParOf" srcId="{175574AA-E003-43C5-81B1-820A53C62B2D}" destId="{65AF6B33-0289-4EFC-8080-635E485E1D61}" srcOrd="5" destOrd="0" presId="urn:microsoft.com/office/officeart/2005/8/layout/venn3"/>
    <dgm:cxn modelId="{CDACD146-3BD0-4F4A-8174-7491591B03EE}" type="presParOf" srcId="{175574AA-E003-43C5-81B1-820A53C62B2D}" destId="{5379462B-3F83-4335-9AD5-B510E45A9897}" srcOrd="6" destOrd="0" presId="urn:microsoft.com/office/officeart/2005/8/layout/venn3"/>
    <dgm:cxn modelId="{2AAF7CEE-9BD1-43A2-BAAB-7DBF0A52F6D0}" type="presParOf" srcId="{175574AA-E003-43C5-81B1-820A53C62B2D}" destId="{072CAC08-85CC-4CC4-A5A9-0CC53A564620}" srcOrd="7" destOrd="0" presId="urn:microsoft.com/office/officeart/2005/8/layout/venn3"/>
    <dgm:cxn modelId="{CF2E8EA0-0481-4EC0-B6B5-AAE791080EB6}" type="presParOf" srcId="{175574AA-E003-43C5-81B1-820A53C62B2D}" destId="{F14F0299-04B5-4EFD-89F0-778C3DE25814}" srcOrd="8" destOrd="0" presId="urn:microsoft.com/office/officeart/2005/8/layout/venn3"/>
    <dgm:cxn modelId="{E3DF546A-5E7F-46A0-9E74-FC6D901AE74E}" type="presParOf" srcId="{175574AA-E003-43C5-81B1-820A53C62B2D}" destId="{9A8D73D0-26E2-436E-903B-774ED9529CC4}" srcOrd="9" destOrd="0" presId="urn:microsoft.com/office/officeart/2005/8/layout/venn3"/>
    <dgm:cxn modelId="{8B505087-CFA4-428B-BB44-3347BAA5F429}" type="presParOf" srcId="{175574AA-E003-43C5-81B1-820A53C62B2D}" destId="{06B6EAF4-5F66-45DA-A2C9-B92F9FFE428D}" srcOrd="10" destOrd="0" presId="urn:microsoft.com/office/officeart/2005/8/layout/venn3"/>
    <dgm:cxn modelId="{881701A8-C6F3-44DB-A2A7-3FABDC8DEEA3}" type="presParOf" srcId="{175574AA-E003-43C5-81B1-820A53C62B2D}" destId="{6C90D3D4-1E13-4C28-AD5C-11B89A0E80A4}" srcOrd="11" destOrd="0" presId="urn:microsoft.com/office/officeart/2005/8/layout/venn3"/>
    <dgm:cxn modelId="{B95310C9-0941-41CC-A77A-10F42257A910}" type="presParOf" srcId="{175574AA-E003-43C5-81B1-820A53C62B2D}" destId="{240D752E-818F-4921-B0F1-F7EAC1D6B5C3}" srcOrd="12" destOrd="0" presId="urn:microsoft.com/office/officeart/2005/8/layout/venn3"/>
    <dgm:cxn modelId="{84007B17-AF4B-4027-8828-4A2D76270ABE}" type="presParOf" srcId="{175574AA-E003-43C5-81B1-820A53C62B2D}" destId="{AA11443C-D1D1-4DFB-9EBD-2CC15F19C432}" srcOrd="13" destOrd="0" presId="urn:microsoft.com/office/officeart/2005/8/layout/venn3"/>
    <dgm:cxn modelId="{FEF68AC5-A3FC-48AD-BB1E-F3063E8E95F9}" type="presParOf" srcId="{175574AA-E003-43C5-81B1-820A53C62B2D}" destId="{550CD8A7-DFAD-4FC8-B1A0-B20763656C52}" srcOrd="14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065750D-60A0-4A5E-B7AE-C23181E74C0D}" type="doc">
      <dgm:prSet loTypeId="urn:microsoft.com/office/officeart/2005/8/layout/vList2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L"/>
        </a:p>
      </dgm:t>
    </dgm:pt>
    <dgm:pt modelId="{C614272E-4D80-4074-BF83-C36EA667F7BB}">
      <dgm:prSet phldrT="[Texto]"/>
      <dgm:spPr/>
      <dgm:t>
        <a:bodyPr/>
        <a:lstStyle/>
        <a:p>
          <a:r>
            <a:rPr lang="es-MX" dirty="0"/>
            <a:t>Consultas asociadas a Hipotiroidismo que requieran alguna orientación, como en </a:t>
          </a:r>
          <a:r>
            <a:rPr lang="es-CL" dirty="0"/>
            <a:t>los siguientes casos ejemplos:</a:t>
          </a:r>
        </a:p>
      </dgm:t>
    </dgm:pt>
    <dgm:pt modelId="{7951E517-1027-403A-AE06-364BCF512C81}" type="parTrans" cxnId="{2B0A8DB8-DB19-48DE-9F29-186F2A89DB96}">
      <dgm:prSet/>
      <dgm:spPr/>
      <dgm:t>
        <a:bodyPr/>
        <a:lstStyle/>
        <a:p>
          <a:endParaRPr lang="es-CL"/>
        </a:p>
      </dgm:t>
    </dgm:pt>
    <dgm:pt modelId="{CEDD1A48-3A24-4741-B645-D05185CCA84B}" type="sibTrans" cxnId="{2B0A8DB8-DB19-48DE-9F29-186F2A89DB96}">
      <dgm:prSet/>
      <dgm:spPr/>
      <dgm:t>
        <a:bodyPr/>
        <a:lstStyle/>
        <a:p>
          <a:endParaRPr lang="es-CL"/>
        </a:p>
      </dgm:t>
    </dgm:pt>
    <dgm:pt modelId="{E68CCCB2-5FC4-4D95-882F-D89B9B468149}">
      <dgm:prSet/>
      <dgm:spPr/>
      <dgm:t>
        <a:bodyPr/>
        <a:lstStyle/>
        <a:p>
          <a:r>
            <a:rPr lang="es-MX" dirty="0"/>
            <a:t>Pacientes mayores de 75 años y embarazada con este problema de salud.</a:t>
          </a:r>
          <a:endParaRPr lang="es-CL" dirty="0"/>
        </a:p>
      </dgm:t>
    </dgm:pt>
    <dgm:pt modelId="{2F0E4652-C544-4D72-966B-B8ACD90D0036}" type="parTrans" cxnId="{DA072068-265E-4347-BE9B-818D36A73145}">
      <dgm:prSet/>
      <dgm:spPr/>
      <dgm:t>
        <a:bodyPr/>
        <a:lstStyle/>
        <a:p>
          <a:endParaRPr lang="es-CL"/>
        </a:p>
      </dgm:t>
    </dgm:pt>
    <dgm:pt modelId="{25F09235-9CB2-4392-ADA7-2B28972547EC}" type="sibTrans" cxnId="{DA072068-265E-4347-BE9B-818D36A73145}">
      <dgm:prSet/>
      <dgm:spPr/>
      <dgm:t>
        <a:bodyPr/>
        <a:lstStyle/>
        <a:p>
          <a:endParaRPr lang="es-CL"/>
        </a:p>
      </dgm:t>
    </dgm:pt>
    <dgm:pt modelId="{A251ADBC-08D9-4E39-9DB7-53F2097FA782}">
      <dgm:prSet/>
      <dgm:spPr/>
      <dgm:t>
        <a:bodyPr/>
        <a:lstStyle/>
        <a:p>
          <a:r>
            <a:rPr lang="es-MX" dirty="0"/>
            <a:t>Consultas asociadas a Hipertiroidismo que requieran alguna orientación, como en los siguientes casos ejemplos:</a:t>
          </a:r>
          <a:endParaRPr lang="es-CL" dirty="0"/>
        </a:p>
      </dgm:t>
    </dgm:pt>
    <dgm:pt modelId="{87F82EFD-7531-4EBC-8738-62BD5DF55D10}" type="parTrans" cxnId="{E27BEA61-6574-4575-B388-D0228A65E314}">
      <dgm:prSet/>
      <dgm:spPr/>
      <dgm:t>
        <a:bodyPr/>
        <a:lstStyle/>
        <a:p>
          <a:endParaRPr lang="es-CL"/>
        </a:p>
      </dgm:t>
    </dgm:pt>
    <dgm:pt modelId="{2BBD950E-2E50-4A95-B23A-D4794044BD41}" type="sibTrans" cxnId="{E27BEA61-6574-4575-B388-D0228A65E314}">
      <dgm:prSet/>
      <dgm:spPr/>
      <dgm:t>
        <a:bodyPr/>
        <a:lstStyle/>
        <a:p>
          <a:endParaRPr lang="es-CL"/>
        </a:p>
      </dgm:t>
    </dgm:pt>
    <dgm:pt modelId="{82443EC9-A16E-4F88-B119-6CD9C983A400}">
      <dgm:prSet/>
      <dgm:spPr/>
      <dgm:t>
        <a:bodyPr/>
        <a:lstStyle/>
        <a:p>
          <a:r>
            <a:rPr lang="es-MX" dirty="0"/>
            <a:t> Ajustes y orientación de terapia farmacológica y/o tratamiento refractario.</a:t>
          </a:r>
          <a:endParaRPr lang="es-CL" dirty="0"/>
        </a:p>
      </dgm:t>
    </dgm:pt>
    <dgm:pt modelId="{0D705CC1-F26E-41C1-B79C-20E9F01614A2}" type="parTrans" cxnId="{A85EF37F-2CEA-4412-AC56-52EB65C6FC81}">
      <dgm:prSet/>
      <dgm:spPr/>
      <dgm:t>
        <a:bodyPr/>
        <a:lstStyle/>
        <a:p>
          <a:endParaRPr lang="es-CL"/>
        </a:p>
      </dgm:t>
    </dgm:pt>
    <dgm:pt modelId="{820E8920-D1B4-4F9E-9ACC-A478E98DF970}" type="sibTrans" cxnId="{A85EF37F-2CEA-4412-AC56-52EB65C6FC81}">
      <dgm:prSet/>
      <dgm:spPr/>
      <dgm:t>
        <a:bodyPr/>
        <a:lstStyle/>
        <a:p>
          <a:endParaRPr lang="es-CL"/>
        </a:p>
      </dgm:t>
    </dgm:pt>
    <dgm:pt modelId="{BD01E4A0-D698-4598-A7E3-57468D2C5F90}">
      <dgm:prSet/>
      <dgm:spPr/>
      <dgm:t>
        <a:bodyPr/>
        <a:lstStyle/>
        <a:p>
          <a:r>
            <a:rPr lang="es-MX" dirty="0"/>
            <a:t> Consultas que requieran alguna orientación en caso de sospecha y/o apoyo en </a:t>
          </a:r>
          <a:r>
            <a:rPr lang="es-CL" dirty="0"/>
            <a:t>patología de nódulo tiroideo.</a:t>
          </a:r>
        </a:p>
      </dgm:t>
    </dgm:pt>
    <dgm:pt modelId="{3DF93005-1792-4F1F-AC5C-6C0E77F147B5}" type="parTrans" cxnId="{8ECBB4C6-6F6F-495C-B132-2019DC3AAE81}">
      <dgm:prSet/>
      <dgm:spPr/>
      <dgm:t>
        <a:bodyPr/>
        <a:lstStyle/>
        <a:p>
          <a:endParaRPr lang="es-CL"/>
        </a:p>
      </dgm:t>
    </dgm:pt>
    <dgm:pt modelId="{02AD1030-76CA-495C-B3DF-8DE7ABC920BB}" type="sibTrans" cxnId="{8ECBB4C6-6F6F-495C-B132-2019DC3AAE81}">
      <dgm:prSet/>
      <dgm:spPr/>
      <dgm:t>
        <a:bodyPr/>
        <a:lstStyle/>
        <a:p>
          <a:endParaRPr lang="es-CL"/>
        </a:p>
      </dgm:t>
    </dgm:pt>
    <dgm:pt modelId="{92AA42F6-90A9-42CA-8385-EE7083BCB271}">
      <dgm:prSet phldrT="[Texto]"/>
      <dgm:spPr/>
      <dgm:t>
        <a:bodyPr/>
        <a:lstStyle/>
        <a:p>
          <a:r>
            <a:rPr lang="es-MX" dirty="0"/>
            <a:t>Criterios de Inclusión </a:t>
          </a:r>
          <a:endParaRPr lang="es-CL" dirty="0"/>
        </a:p>
      </dgm:t>
    </dgm:pt>
    <dgm:pt modelId="{58E1D5CF-4810-46C6-BEE1-6E0BFB015EBE}" type="parTrans" cxnId="{EAEC21A4-2285-4FB9-832B-DFC893E63979}">
      <dgm:prSet/>
      <dgm:spPr/>
      <dgm:t>
        <a:bodyPr/>
        <a:lstStyle/>
        <a:p>
          <a:endParaRPr lang="es-CL"/>
        </a:p>
      </dgm:t>
    </dgm:pt>
    <dgm:pt modelId="{5296900D-132D-4534-91F4-BAF2D8881D77}" type="sibTrans" cxnId="{EAEC21A4-2285-4FB9-832B-DFC893E63979}">
      <dgm:prSet/>
      <dgm:spPr/>
      <dgm:t>
        <a:bodyPr/>
        <a:lstStyle/>
        <a:p>
          <a:endParaRPr lang="es-CL"/>
        </a:p>
      </dgm:t>
    </dgm:pt>
    <dgm:pt modelId="{E822AD72-4291-4F3A-BF98-EF7810E6658D}">
      <dgm:prSet phldrT="[Texto]"/>
      <dgm:spPr/>
      <dgm:t>
        <a:bodyPr/>
        <a:lstStyle/>
        <a:p>
          <a:r>
            <a:rPr lang="es-MX" dirty="0"/>
            <a:t> Usuarios con sospecha y/o confirmación de esta patología.</a:t>
          </a:r>
          <a:endParaRPr lang="es-CL" dirty="0"/>
        </a:p>
      </dgm:t>
    </dgm:pt>
    <dgm:pt modelId="{A9BCFAE6-322E-4B73-B430-4DB63030E490}" type="parTrans" cxnId="{3032CCF0-535C-4013-BF8B-641CE166C9E2}">
      <dgm:prSet/>
      <dgm:spPr/>
      <dgm:t>
        <a:bodyPr/>
        <a:lstStyle/>
        <a:p>
          <a:endParaRPr lang="es-CL"/>
        </a:p>
      </dgm:t>
    </dgm:pt>
    <dgm:pt modelId="{45649BD2-00BE-4588-BBBD-80EB896FF5B6}" type="sibTrans" cxnId="{3032CCF0-535C-4013-BF8B-641CE166C9E2}">
      <dgm:prSet/>
      <dgm:spPr/>
      <dgm:t>
        <a:bodyPr/>
        <a:lstStyle/>
        <a:p>
          <a:endParaRPr lang="es-CL"/>
        </a:p>
      </dgm:t>
    </dgm:pt>
    <dgm:pt modelId="{575CF6D2-B609-4483-9F8F-1CB2BAC32A30}">
      <dgm:prSet phldrT="[Texto]"/>
      <dgm:spPr/>
      <dgm:t>
        <a:bodyPr/>
        <a:lstStyle/>
        <a:p>
          <a:r>
            <a:rPr lang="es-MX" dirty="0"/>
            <a:t> Ajustes y orientación de terapia farmacológica y/o tratamiento refractario.</a:t>
          </a:r>
          <a:endParaRPr lang="es-CL" dirty="0"/>
        </a:p>
      </dgm:t>
    </dgm:pt>
    <dgm:pt modelId="{6A8CCFB7-8C4A-4AB7-A0B1-92236D7462B1}" type="parTrans" cxnId="{B9B895B9-3B3C-424B-AC92-6F6069E36345}">
      <dgm:prSet/>
      <dgm:spPr/>
      <dgm:t>
        <a:bodyPr/>
        <a:lstStyle/>
        <a:p>
          <a:endParaRPr lang="es-CL"/>
        </a:p>
      </dgm:t>
    </dgm:pt>
    <dgm:pt modelId="{BEBBB478-EE13-4399-A495-FA6520E4BC92}" type="sibTrans" cxnId="{B9B895B9-3B3C-424B-AC92-6F6069E36345}">
      <dgm:prSet/>
      <dgm:spPr/>
      <dgm:t>
        <a:bodyPr/>
        <a:lstStyle/>
        <a:p>
          <a:endParaRPr lang="es-CL"/>
        </a:p>
      </dgm:t>
    </dgm:pt>
    <dgm:pt modelId="{F20222CF-5E4B-49C7-A0DA-F0621B85B438}">
      <dgm:prSet/>
      <dgm:spPr/>
      <dgm:t>
        <a:bodyPr/>
        <a:lstStyle/>
        <a:p>
          <a:r>
            <a:rPr lang="es-MX" dirty="0"/>
            <a:t> Usuarios con alteraciones en pruebas tiroideas, con sospecha y/o </a:t>
          </a:r>
          <a:r>
            <a:rPr lang="es-CL" dirty="0"/>
            <a:t>confirmación de esta patología.</a:t>
          </a:r>
        </a:p>
      </dgm:t>
    </dgm:pt>
    <dgm:pt modelId="{CCF8D7CD-7580-4C1E-8A8E-73D3ACB3217A}" type="parTrans" cxnId="{67370599-1BCE-44B3-8C25-9A96DE24D8AF}">
      <dgm:prSet/>
      <dgm:spPr/>
      <dgm:t>
        <a:bodyPr/>
        <a:lstStyle/>
        <a:p>
          <a:endParaRPr lang="es-CL"/>
        </a:p>
      </dgm:t>
    </dgm:pt>
    <dgm:pt modelId="{37A6DA5B-F5E8-4A75-9728-56012E0FE093}" type="sibTrans" cxnId="{67370599-1BCE-44B3-8C25-9A96DE24D8AF}">
      <dgm:prSet/>
      <dgm:spPr/>
      <dgm:t>
        <a:bodyPr/>
        <a:lstStyle/>
        <a:p>
          <a:endParaRPr lang="es-CL"/>
        </a:p>
      </dgm:t>
    </dgm:pt>
    <dgm:pt modelId="{4FA485C4-B29D-4673-83FD-ED2E64BCF0D5}" type="pres">
      <dgm:prSet presAssocID="{1065750D-60A0-4A5E-B7AE-C23181E74C0D}" presName="linear" presStyleCnt="0">
        <dgm:presLayoutVars>
          <dgm:animLvl val="lvl"/>
          <dgm:resizeHandles val="exact"/>
        </dgm:presLayoutVars>
      </dgm:prSet>
      <dgm:spPr/>
    </dgm:pt>
    <dgm:pt modelId="{6C757F1C-BCE7-4539-AA18-FEA7988990AB}" type="pres">
      <dgm:prSet presAssocID="{92AA42F6-90A9-42CA-8385-EE7083BCB271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FDED8B43-53A2-437B-BAFE-14EAD1B13EC8}" type="pres">
      <dgm:prSet presAssocID="{5296900D-132D-4534-91F4-BAF2D8881D77}" presName="spacer" presStyleCnt="0"/>
      <dgm:spPr/>
    </dgm:pt>
    <dgm:pt modelId="{29CFB218-B21B-42A1-85BD-864C80CAA366}" type="pres">
      <dgm:prSet presAssocID="{C614272E-4D80-4074-BF83-C36EA667F7BB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9E05EFF7-26C3-441A-B165-67CCABE32C4B}" type="pres">
      <dgm:prSet presAssocID="{C614272E-4D80-4074-BF83-C36EA667F7BB}" presName="childText" presStyleLbl="revTx" presStyleIdx="0" presStyleCnt="2">
        <dgm:presLayoutVars>
          <dgm:bulletEnabled val="1"/>
        </dgm:presLayoutVars>
      </dgm:prSet>
      <dgm:spPr/>
    </dgm:pt>
    <dgm:pt modelId="{B707B842-FACF-4B85-A3BE-BF0C7C6C8E60}" type="pres">
      <dgm:prSet presAssocID="{A251ADBC-08D9-4E39-9DB7-53F2097FA782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C24996D7-57A0-43B5-9958-178C8E2D3685}" type="pres">
      <dgm:prSet presAssocID="{A251ADBC-08D9-4E39-9DB7-53F2097FA782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541C6505-001E-401E-885D-8A108361F139}" type="presOf" srcId="{A251ADBC-08D9-4E39-9DB7-53F2097FA782}" destId="{B707B842-FACF-4B85-A3BE-BF0C7C6C8E60}" srcOrd="0" destOrd="0" presId="urn:microsoft.com/office/officeart/2005/8/layout/vList2"/>
    <dgm:cxn modelId="{7B052107-5420-4D18-975F-A333166B37CF}" type="presOf" srcId="{C614272E-4D80-4074-BF83-C36EA667F7BB}" destId="{29CFB218-B21B-42A1-85BD-864C80CAA366}" srcOrd="0" destOrd="0" presId="urn:microsoft.com/office/officeart/2005/8/layout/vList2"/>
    <dgm:cxn modelId="{996CC720-7EC4-4AD5-81CC-F9CF72373F74}" type="presOf" srcId="{575CF6D2-B609-4483-9F8F-1CB2BAC32A30}" destId="{9E05EFF7-26C3-441A-B165-67CCABE32C4B}" srcOrd="0" destOrd="1" presId="urn:microsoft.com/office/officeart/2005/8/layout/vList2"/>
    <dgm:cxn modelId="{E27BEA61-6574-4575-B388-D0228A65E314}" srcId="{1065750D-60A0-4A5E-B7AE-C23181E74C0D}" destId="{A251ADBC-08D9-4E39-9DB7-53F2097FA782}" srcOrd="2" destOrd="0" parTransId="{87F82EFD-7531-4EBC-8738-62BD5DF55D10}" sibTransId="{2BBD950E-2E50-4A95-B23A-D4794044BD41}"/>
    <dgm:cxn modelId="{C4382A62-E208-4395-9314-2B2DAA218493}" type="presOf" srcId="{92AA42F6-90A9-42CA-8385-EE7083BCB271}" destId="{6C757F1C-BCE7-4539-AA18-FEA7988990AB}" srcOrd="0" destOrd="0" presId="urn:microsoft.com/office/officeart/2005/8/layout/vList2"/>
    <dgm:cxn modelId="{DA072068-265E-4347-BE9B-818D36A73145}" srcId="{C614272E-4D80-4074-BF83-C36EA667F7BB}" destId="{E68CCCB2-5FC4-4D95-882F-D89B9B468149}" srcOrd="2" destOrd="0" parTransId="{2F0E4652-C544-4D72-966B-B8ACD90D0036}" sibTransId="{25F09235-9CB2-4392-ADA7-2B28972547EC}"/>
    <dgm:cxn modelId="{A856B77C-E4FF-410B-B9F1-474AA288FD04}" type="presOf" srcId="{E822AD72-4291-4F3A-BF98-EF7810E6658D}" destId="{9E05EFF7-26C3-441A-B165-67CCABE32C4B}" srcOrd="0" destOrd="0" presId="urn:microsoft.com/office/officeart/2005/8/layout/vList2"/>
    <dgm:cxn modelId="{A85EF37F-2CEA-4412-AC56-52EB65C6FC81}" srcId="{A251ADBC-08D9-4E39-9DB7-53F2097FA782}" destId="{82443EC9-A16E-4F88-B119-6CD9C983A400}" srcOrd="1" destOrd="0" parTransId="{0D705CC1-F26E-41C1-B79C-20E9F01614A2}" sibTransId="{820E8920-D1B4-4F9E-9ACC-A478E98DF970}"/>
    <dgm:cxn modelId="{49ACC388-A00F-423B-8933-3DF859DE51B6}" type="presOf" srcId="{E68CCCB2-5FC4-4D95-882F-D89B9B468149}" destId="{9E05EFF7-26C3-441A-B165-67CCABE32C4B}" srcOrd="0" destOrd="2" presId="urn:microsoft.com/office/officeart/2005/8/layout/vList2"/>
    <dgm:cxn modelId="{4CDA6D97-AB55-4485-A2CC-91C41529EFE5}" type="presOf" srcId="{BD01E4A0-D698-4598-A7E3-57468D2C5F90}" destId="{C24996D7-57A0-43B5-9958-178C8E2D3685}" srcOrd="0" destOrd="2" presId="urn:microsoft.com/office/officeart/2005/8/layout/vList2"/>
    <dgm:cxn modelId="{67370599-1BCE-44B3-8C25-9A96DE24D8AF}" srcId="{A251ADBC-08D9-4E39-9DB7-53F2097FA782}" destId="{F20222CF-5E4B-49C7-A0DA-F0621B85B438}" srcOrd="0" destOrd="0" parTransId="{CCF8D7CD-7580-4C1E-8A8E-73D3ACB3217A}" sibTransId="{37A6DA5B-F5E8-4A75-9728-56012E0FE093}"/>
    <dgm:cxn modelId="{EAEC21A4-2285-4FB9-832B-DFC893E63979}" srcId="{1065750D-60A0-4A5E-B7AE-C23181E74C0D}" destId="{92AA42F6-90A9-42CA-8385-EE7083BCB271}" srcOrd="0" destOrd="0" parTransId="{58E1D5CF-4810-46C6-BEE1-6E0BFB015EBE}" sibTransId="{5296900D-132D-4534-91F4-BAF2D8881D77}"/>
    <dgm:cxn modelId="{9AF808AE-31A2-44BC-AB7E-E9F6543DBA44}" type="presOf" srcId="{1065750D-60A0-4A5E-B7AE-C23181E74C0D}" destId="{4FA485C4-B29D-4673-83FD-ED2E64BCF0D5}" srcOrd="0" destOrd="0" presId="urn:microsoft.com/office/officeart/2005/8/layout/vList2"/>
    <dgm:cxn modelId="{2B0A8DB8-DB19-48DE-9F29-186F2A89DB96}" srcId="{1065750D-60A0-4A5E-B7AE-C23181E74C0D}" destId="{C614272E-4D80-4074-BF83-C36EA667F7BB}" srcOrd="1" destOrd="0" parTransId="{7951E517-1027-403A-AE06-364BCF512C81}" sibTransId="{CEDD1A48-3A24-4741-B645-D05185CCA84B}"/>
    <dgm:cxn modelId="{B9B895B9-3B3C-424B-AC92-6F6069E36345}" srcId="{C614272E-4D80-4074-BF83-C36EA667F7BB}" destId="{575CF6D2-B609-4483-9F8F-1CB2BAC32A30}" srcOrd="1" destOrd="0" parTransId="{6A8CCFB7-8C4A-4AB7-A0B1-92236D7462B1}" sibTransId="{BEBBB478-EE13-4399-A495-FA6520E4BC92}"/>
    <dgm:cxn modelId="{8ECBB4C6-6F6F-495C-B132-2019DC3AAE81}" srcId="{A251ADBC-08D9-4E39-9DB7-53F2097FA782}" destId="{BD01E4A0-D698-4598-A7E3-57468D2C5F90}" srcOrd="2" destOrd="0" parTransId="{3DF93005-1792-4F1F-AC5C-6C0E77F147B5}" sibTransId="{02AD1030-76CA-495C-B3DF-8DE7ABC920BB}"/>
    <dgm:cxn modelId="{1C2F04CB-7849-4070-858D-E629F493B67D}" type="presOf" srcId="{F20222CF-5E4B-49C7-A0DA-F0621B85B438}" destId="{C24996D7-57A0-43B5-9958-178C8E2D3685}" srcOrd="0" destOrd="0" presId="urn:microsoft.com/office/officeart/2005/8/layout/vList2"/>
    <dgm:cxn modelId="{15DF93CC-CCFB-4AA4-9B73-2B5DDE166D68}" type="presOf" srcId="{82443EC9-A16E-4F88-B119-6CD9C983A400}" destId="{C24996D7-57A0-43B5-9958-178C8E2D3685}" srcOrd="0" destOrd="1" presId="urn:microsoft.com/office/officeart/2005/8/layout/vList2"/>
    <dgm:cxn modelId="{3032CCF0-535C-4013-BF8B-641CE166C9E2}" srcId="{C614272E-4D80-4074-BF83-C36EA667F7BB}" destId="{E822AD72-4291-4F3A-BF98-EF7810E6658D}" srcOrd="0" destOrd="0" parTransId="{A9BCFAE6-322E-4B73-B430-4DB63030E490}" sibTransId="{45649BD2-00BE-4588-BBBD-80EB896FF5B6}"/>
    <dgm:cxn modelId="{6451FF11-0FCB-4352-B89B-E8BBCD11149B}" type="presParOf" srcId="{4FA485C4-B29D-4673-83FD-ED2E64BCF0D5}" destId="{6C757F1C-BCE7-4539-AA18-FEA7988990AB}" srcOrd="0" destOrd="0" presId="urn:microsoft.com/office/officeart/2005/8/layout/vList2"/>
    <dgm:cxn modelId="{AB573317-3120-49E8-B17A-5C2A8A6F2E8F}" type="presParOf" srcId="{4FA485C4-B29D-4673-83FD-ED2E64BCF0D5}" destId="{FDED8B43-53A2-437B-BAFE-14EAD1B13EC8}" srcOrd="1" destOrd="0" presId="urn:microsoft.com/office/officeart/2005/8/layout/vList2"/>
    <dgm:cxn modelId="{024580D6-F7CF-4AAC-BA08-EB018609412A}" type="presParOf" srcId="{4FA485C4-B29D-4673-83FD-ED2E64BCF0D5}" destId="{29CFB218-B21B-42A1-85BD-864C80CAA366}" srcOrd="2" destOrd="0" presId="urn:microsoft.com/office/officeart/2005/8/layout/vList2"/>
    <dgm:cxn modelId="{79320FC6-6A98-4763-B1EE-A193F6F66BC3}" type="presParOf" srcId="{4FA485C4-B29D-4673-83FD-ED2E64BCF0D5}" destId="{9E05EFF7-26C3-441A-B165-67CCABE32C4B}" srcOrd="3" destOrd="0" presId="urn:microsoft.com/office/officeart/2005/8/layout/vList2"/>
    <dgm:cxn modelId="{AB51E6B8-5942-4796-B6FD-BC972D0E1DAE}" type="presParOf" srcId="{4FA485C4-B29D-4673-83FD-ED2E64BCF0D5}" destId="{B707B842-FACF-4B85-A3BE-BF0C7C6C8E60}" srcOrd="4" destOrd="0" presId="urn:microsoft.com/office/officeart/2005/8/layout/vList2"/>
    <dgm:cxn modelId="{E089EDC6-CF2B-4296-A4A5-7A1580A246D7}" type="presParOf" srcId="{4FA485C4-B29D-4673-83FD-ED2E64BCF0D5}" destId="{C24996D7-57A0-43B5-9958-178C8E2D3685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C1AA08C-214E-4A7E-8DD2-D80AB4979A7C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FC2863E3-110E-4682-B282-97049BC4E68B}">
      <dgm:prSet phldrT="[Texto]"/>
      <dgm:spPr/>
      <dgm:t>
        <a:bodyPr/>
        <a:lstStyle/>
        <a:p>
          <a:r>
            <a:rPr lang="es-MX" dirty="0"/>
            <a:t>Personas con sospecha o confirmación de tumor hipofisario </a:t>
          </a:r>
          <a:endParaRPr lang="es-CL" dirty="0"/>
        </a:p>
      </dgm:t>
    </dgm:pt>
    <dgm:pt modelId="{9C8E429E-2688-4478-8AB0-D7D113D5C4FC}" type="parTrans" cxnId="{9ECFAAB8-D257-4F2F-B9DF-1A466BB30D34}">
      <dgm:prSet/>
      <dgm:spPr/>
      <dgm:t>
        <a:bodyPr/>
        <a:lstStyle/>
        <a:p>
          <a:endParaRPr lang="es-CL"/>
        </a:p>
      </dgm:t>
    </dgm:pt>
    <dgm:pt modelId="{D21FC88C-F6ED-43FD-A2CC-FFAE53E463C6}" type="sibTrans" cxnId="{9ECFAAB8-D257-4F2F-B9DF-1A466BB30D34}">
      <dgm:prSet/>
      <dgm:spPr/>
      <dgm:t>
        <a:bodyPr/>
        <a:lstStyle/>
        <a:p>
          <a:endParaRPr lang="es-CL"/>
        </a:p>
      </dgm:t>
    </dgm:pt>
    <dgm:pt modelId="{389E86EF-CEA9-4CFF-8D96-CCEB28AC872F}">
      <dgm:prSet phldrT="[Texto]"/>
      <dgm:spPr/>
      <dgm:t>
        <a:bodyPr/>
        <a:lstStyle/>
        <a:p>
          <a:r>
            <a:rPr lang="es-MX" dirty="0"/>
            <a:t>Personas con diagnostico de algún tipo de Diabetes Mellitus </a:t>
          </a:r>
          <a:endParaRPr lang="es-CL" dirty="0"/>
        </a:p>
      </dgm:t>
    </dgm:pt>
    <dgm:pt modelId="{B8B8004E-8903-45CE-B06B-1DB4135DB2F1}" type="parTrans" cxnId="{590685E0-95BF-4D8A-BEE0-0BA4D4361797}">
      <dgm:prSet/>
      <dgm:spPr/>
      <dgm:t>
        <a:bodyPr/>
        <a:lstStyle/>
        <a:p>
          <a:endParaRPr lang="es-CL"/>
        </a:p>
      </dgm:t>
    </dgm:pt>
    <dgm:pt modelId="{C3436F82-BAF9-44ED-BE2E-60DC17F51874}" type="sibTrans" cxnId="{590685E0-95BF-4D8A-BEE0-0BA4D4361797}">
      <dgm:prSet/>
      <dgm:spPr/>
      <dgm:t>
        <a:bodyPr/>
        <a:lstStyle/>
        <a:p>
          <a:endParaRPr lang="es-CL"/>
        </a:p>
      </dgm:t>
    </dgm:pt>
    <dgm:pt modelId="{B9397186-D6FF-4D3E-AE20-80C61B097788}">
      <dgm:prSet phldrT="[Texto]"/>
      <dgm:spPr/>
      <dgm:t>
        <a:bodyPr/>
        <a:lstStyle/>
        <a:p>
          <a:r>
            <a:rPr lang="es-MX" dirty="0"/>
            <a:t>Cualquier otro Diagnostico no indicado en los criterios de inclusión </a:t>
          </a:r>
          <a:endParaRPr lang="es-CL" dirty="0"/>
        </a:p>
      </dgm:t>
    </dgm:pt>
    <dgm:pt modelId="{EC8EBE39-EF2A-48C1-A86B-9F37DB9C8A45}" type="parTrans" cxnId="{C15F47AD-1265-4461-B2AC-99DDA26B68BC}">
      <dgm:prSet/>
      <dgm:spPr/>
      <dgm:t>
        <a:bodyPr/>
        <a:lstStyle/>
        <a:p>
          <a:endParaRPr lang="es-CL"/>
        </a:p>
      </dgm:t>
    </dgm:pt>
    <dgm:pt modelId="{910088EF-C7EF-4843-9B73-AB99D24FEDF5}" type="sibTrans" cxnId="{C15F47AD-1265-4461-B2AC-99DDA26B68BC}">
      <dgm:prSet/>
      <dgm:spPr/>
      <dgm:t>
        <a:bodyPr/>
        <a:lstStyle/>
        <a:p>
          <a:endParaRPr lang="es-CL"/>
        </a:p>
      </dgm:t>
    </dgm:pt>
    <dgm:pt modelId="{D872B6AB-BD91-48CB-BCBC-963D07561B03}" type="pres">
      <dgm:prSet presAssocID="{4C1AA08C-214E-4A7E-8DD2-D80AB4979A7C}" presName="diagram" presStyleCnt="0">
        <dgm:presLayoutVars>
          <dgm:dir/>
          <dgm:resizeHandles val="exact"/>
        </dgm:presLayoutVars>
      </dgm:prSet>
      <dgm:spPr/>
    </dgm:pt>
    <dgm:pt modelId="{3DEDE24C-C230-4BFA-A092-A533697D1EDD}" type="pres">
      <dgm:prSet presAssocID="{FC2863E3-110E-4682-B282-97049BC4E68B}" presName="node" presStyleLbl="node1" presStyleIdx="0" presStyleCnt="3">
        <dgm:presLayoutVars>
          <dgm:bulletEnabled val="1"/>
        </dgm:presLayoutVars>
      </dgm:prSet>
      <dgm:spPr/>
    </dgm:pt>
    <dgm:pt modelId="{63568945-6D51-4F79-9134-BB126EC4AD58}" type="pres">
      <dgm:prSet presAssocID="{D21FC88C-F6ED-43FD-A2CC-FFAE53E463C6}" presName="sibTrans" presStyleCnt="0"/>
      <dgm:spPr/>
    </dgm:pt>
    <dgm:pt modelId="{8E3FE45B-1AFE-4B6A-B430-D388145CFA59}" type="pres">
      <dgm:prSet presAssocID="{389E86EF-CEA9-4CFF-8D96-CCEB28AC872F}" presName="node" presStyleLbl="node1" presStyleIdx="1" presStyleCnt="3">
        <dgm:presLayoutVars>
          <dgm:bulletEnabled val="1"/>
        </dgm:presLayoutVars>
      </dgm:prSet>
      <dgm:spPr/>
    </dgm:pt>
    <dgm:pt modelId="{04EB14D1-8E6D-453C-A7B2-7F74AFED3D3D}" type="pres">
      <dgm:prSet presAssocID="{C3436F82-BAF9-44ED-BE2E-60DC17F51874}" presName="sibTrans" presStyleCnt="0"/>
      <dgm:spPr/>
    </dgm:pt>
    <dgm:pt modelId="{40D9F0D9-1944-42A4-A520-AB8205F2F023}" type="pres">
      <dgm:prSet presAssocID="{B9397186-D6FF-4D3E-AE20-80C61B097788}" presName="node" presStyleLbl="node1" presStyleIdx="2" presStyleCnt="3">
        <dgm:presLayoutVars>
          <dgm:bulletEnabled val="1"/>
        </dgm:presLayoutVars>
      </dgm:prSet>
      <dgm:spPr/>
    </dgm:pt>
  </dgm:ptLst>
  <dgm:cxnLst>
    <dgm:cxn modelId="{A1E57860-CF51-4E56-B4C2-CA0B5E8A6A60}" type="presOf" srcId="{B9397186-D6FF-4D3E-AE20-80C61B097788}" destId="{40D9F0D9-1944-42A4-A520-AB8205F2F023}" srcOrd="0" destOrd="0" presId="urn:microsoft.com/office/officeart/2005/8/layout/default"/>
    <dgm:cxn modelId="{E4B76C65-7388-4924-83FD-21AFF4C16047}" type="presOf" srcId="{389E86EF-CEA9-4CFF-8D96-CCEB28AC872F}" destId="{8E3FE45B-1AFE-4B6A-B430-D388145CFA59}" srcOrd="0" destOrd="0" presId="urn:microsoft.com/office/officeart/2005/8/layout/default"/>
    <dgm:cxn modelId="{5694ED47-1F14-49AC-96C5-19A3A35EC857}" type="presOf" srcId="{FC2863E3-110E-4682-B282-97049BC4E68B}" destId="{3DEDE24C-C230-4BFA-A092-A533697D1EDD}" srcOrd="0" destOrd="0" presId="urn:microsoft.com/office/officeart/2005/8/layout/default"/>
    <dgm:cxn modelId="{C15F47AD-1265-4461-B2AC-99DDA26B68BC}" srcId="{4C1AA08C-214E-4A7E-8DD2-D80AB4979A7C}" destId="{B9397186-D6FF-4D3E-AE20-80C61B097788}" srcOrd="2" destOrd="0" parTransId="{EC8EBE39-EF2A-48C1-A86B-9F37DB9C8A45}" sibTransId="{910088EF-C7EF-4843-9B73-AB99D24FEDF5}"/>
    <dgm:cxn modelId="{9ECFAAB8-D257-4F2F-B9DF-1A466BB30D34}" srcId="{4C1AA08C-214E-4A7E-8DD2-D80AB4979A7C}" destId="{FC2863E3-110E-4682-B282-97049BC4E68B}" srcOrd="0" destOrd="0" parTransId="{9C8E429E-2688-4478-8AB0-D7D113D5C4FC}" sibTransId="{D21FC88C-F6ED-43FD-A2CC-FFAE53E463C6}"/>
    <dgm:cxn modelId="{CB7DE3D3-DA05-48D8-A0A0-D24FE029048D}" type="presOf" srcId="{4C1AA08C-214E-4A7E-8DD2-D80AB4979A7C}" destId="{D872B6AB-BD91-48CB-BCBC-963D07561B03}" srcOrd="0" destOrd="0" presId="urn:microsoft.com/office/officeart/2005/8/layout/default"/>
    <dgm:cxn modelId="{590685E0-95BF-4D8A-BEE0-0BA4D4361797}" srcId="{4C1AA08C-214E-4A7E-8DD2-D80AB4979A7C}" destId="{389E86EF-CEA9-4CFF-8D96-CCEB28AC872F}" srcOrd="1" destOrd="0" parTransId="{B8B8004E-8903-45CE-B06B-1DB4135DB2F1}" sibTransId="{C3436F82-BAF9-44ED-BE2E-60DC17F51874}"/>
    <dgm:cxn modelId="{77E74BEC-2444-47E1-A51D-29F7047755D1}" type="presParOf" srcId="{D872B6AB-BD91-48CB-BCBC-963D07561B03}" destId="{3DEDE24C-C230-4BFA-A092-A533697D1EDD}" srcOrd="0" destOrd="0" presId="urn:microsoft.com/office/officeart/2005/8/layout/default"/>
    <dgm:cxn modelId="{2A5BC136-102A-4747-9B59-4BB30E8D44F0}" type="presParOf" srcId="{D872B6AB-BD91-48CB-BCBC-963D07561B03}" destId="{63568945-6D51-4F79-9134-BB126EC4AD58}" srcOrd="1" destOrd="0" presId="urn:microsoft.com/office/officeart/2005/8/layout/default"/>
    <dgm:cxn modelId="{DAC2919B-64EA-4ECC-8D5B-17DA89A068D4}" type="presParOf" srcId="{D872B6AB-BD91-48CB-BCBC-963D07561B03}" destId="{8E3FE45B-1AFE-4B6A-B430-D388145CFA59}" srcOrd="2" destOrd="0" presId="urn:microsoft.com/office/officeart/2005/8/layout/default"/>
    <dgm:cxn modelId="{96672F0F-D788-47B0-B37E-1972B88E2A18}" type="presParOf" srcId="{D872B6AB-BD91-48CB-BCBC-963D07561B03}" destId="{04EB14D1-8E6D-453C-A7B2-7F74AFED3D3D}" srcOrd="3" destOrd="0" presId="urn:microsoft.com/office/officeart/2005/8/layout/default"/>
    <dgm:cxn modelId="{C2A85726-B547-4F98-89BF-1D0ACB19376D}" type="presParOf" srcId="{D872B6AB-BD91-48CB-BCBC-963D07561B03}" destId="{40D9F0D9-1944-42A4-A520-AB8205F2F023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E6B7F93-7E39-4839-B0FE-A360AAB0077C}" type="doc">
      <dgm:prSet loTypeId="urn:microsoft.com/office/officeart/2005/8/layout/vList2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L"/>
        </a:p>
      </dgm:t>
    </dgm:pt>
    <dgm:pt modelId="{06734EF2-1603-44EA-85A6-3C85FA6FFD5B}">
      <dgm:prSet phldrT="[Texto]"/>
      <dgm:spPr/>
      <dgm:t>
        <a:bodyPr/>
        <a:lstStyle/>
        <a:p>
          <a:r>
            <a:rPr lang="es-MX" dirty="0"/>
            <a:t>Objetivo General  </a:t>
          </a:r>
          <a:endParaRPr lang="es-CL" dirty="0"/>
        </a:p>
      </dgm:t>
    </dgm:pt>
    <dgm:pt modelId="{CB074DB9-DB6B-45DE-A673-AE45848E70BA}" type="parTrans" cxnId="{5D72AA9A-2D08-4BE3-8BA7-BDC8B67F9CE8}">
      <dgm:prSet/>
      <dgm:spPr/>
      <dgm:t>
        <a:bodyPr/>
        <a:lstStyle/>
        <a:p>
          <a:endParaRPr lang="es-CL"/>
        </a:p>
      </dgm:t>
    </dgm:pt>
    <dgm:pt modelId="{E423ECE6-CB19-49CE-B64A-69AC4C403A78}" type="sibTrans" cxnId="{5D72AA9A-2D08-4BE3-8BA7-BDC8B67F9CE8}">
      <dgm:prSet/>
      <dgm:spPr/>
      <dgm:t>
        <a:bodyPr/>
        <a:lstStyle/>
        <a:p>
          <a:endParaRPr lang="es-CL"/>
        </a:p>
      </dgm:t>
    </dgm:pt>
    <dgm:pt modelId="{1DD66FEA-4E8B-4151-85CD-E2A1528671FE}">
      <dgm:prSet phldrT="[Texto]"/>
      <dgm:spPr/>
      <dgm:t>
        <a:bodyPr/>
        <a:lstStyle/>
        <a:p>
          <a:r>
            <a:rPr lang="es-ES" dirty="0">
              <a:latin typeface="Corbel" panose="020B0503020204020204" pitchFamily="34" charset="0"/>
              <a:ea typeface="Calibri" panose="020F0502020204030204" pitchFamily="34" charset="0"/>
              <a:cs typeface="Arial" panose="020B0604020202020204" pitchFamily="34" charset="0"/>
            </a:rPr>
            <a:t>Fortalecer la Red Integrada de los Servicios de Salud, con un modelo de atención a distancia integrado y complementario a la atención presencial, enfocado en las personas, permitiendo así mejorar el acceso, oportunidad, pertinencia y continuidad de la atención en la especialidad de Reumatología a través del uso de TIC.</a:t>
          </a:r>
          <a:endParaRPr lang="es-CL" dirty="0"/>
        </a:p>
      </dgm:t>
    </dgm:pt>
    <dgm:pt modelId="{A60C5E4E-5F41-4112-9419-9999BDD7B10A}" type="parTrans" cxnId="{4EE78D57-344A-4EDC-9648-176AD84693D7}">
      <dgm:prSet/>
      <dgm:spPr/>
      <dgm:t>
        <a:bodyPr/>
        <a:lstStyle/>
        <a:p>
          <a:endParaRPr lang="es-CL"/>
        </a:p>
      </dgm:t>
    </dgm:pt>
    <dgm:pt modelId="{F99F4F2D-DAC9-4717-8A3B-D117276D1D2A}" type="sibTrans" cxnId="{4EE78D57-344A-4EDC-9648-176AD84693D7}">
      <dgm:prSet/>
      <dgm:spPr/>
      <dgm:t>
        <a:bodyPr/>
        <a:lstStyle/>
        <a:p>
          <a:endParaRPr lang="es-CL"/>
        </a:p>
      </dgm:t>
    </dgm:pt>
    <dgm:pt modelId="{97D70A74-843E-46D8-B02E-3E885C80B417}">
      <dgm:prSet phldrT="[Texto]"/>
      <dgm:spPr/>
      <dgm:t>
        <a:bodyPr/>
        <a:lstStyle/>
        <a:p>
          <a:r>
            <a:rPr lang="es-MX" dirty="0"/>
            <a:t>Grupo Objetivo </a:t>
          </a:r>
          <a:endParaRPr lang="es-CL" dirty="0"/>
        </a:p>
      </dgm:t>
    </dgm:pt>
    <dgm:pt modelId="{198CD430-8F48-4FD7-B9E3-A94F65CB26C6}" type="parTrans" cxnId="{4F97321D-AE9C-4061-97BF-61814CEEAD35}">
      <dgm:prSet/>
      <dgm:spPr/>
      <dgm:t>
        <a:bodyPr/>
        <a:lstStyle/>
        <a:p>
          <a:endParaRPr lang="es-CL"/>
        </a:p>
      </dgm:t>
    </dgm:pt>
    <dgm:pt modelId="{628FD32C-EE55-4010-B504-6DDCD2D73F50}" type="sibTrans" cxnId="{4F97321D-AE9C-4061-97BF-61814CEEAD35}">
      <dgm:prSet/>
      <dgm:spPr/>
      <dgm:t>
        <a:bodyPr/>
        <a:lstStyle/>
        <a:p>
          <a:endParaRPr lang="es-CL"/>
        </a:p>
      </dgm:t>
    </dgm:pt>
    <dgm:pt modelId="{EFEDC425-F303-488A-AE05-4B621F55D18B}">
      <dgm:prSet phldrT="[Texto]"/>
      <dgm:spPr/>
      <dgm:t>
        <a:bodyPr/>
        <a:lstStyle/>
        <a:p>
          <a:r>
            <a:rPr lang="es-ES" dirty="0">
              <a:effectLst/>
              <a:latin typeface="Corbel" panose="020B0503020204020204" pitchFamily="34" charset="0"/>
              <a:ea typeface="Calibri" panose="020F0502020204030204" pitchFamily="34" charset="0"/>
              <a:cs typeface="Arial" panose="020B0604020202020204" pitchFamily="34" charset="0"/>
            </a:rPr>
            <a:t>Usuarios/as que tienen </a:t>
          </a:r>
          <a:r>
            <a:rPr lang="es-ES" b="1" dirty="0">
              <a:effectLst/>
              <a:latin typeface="Corbel" panose="020B0503020204020204" pitchFamily="34" charset="0"/>
              <a:ea typeface="Calibri" panose="020F0502020204030204" pitchFamily="34" charset="0"/>
              <a:cs typeface="Arial" panose="020B0604020202020204" pitchFamily="34" charset="0"/>
            </a:rPr>
            <a:t>diagnóstico previo de artropatía inflamatoria, </a:t>
          </a:r>
          <a:r>
            <a:rPr lang="es-ES" dirty="0">
              <a:effectLst/>
              <a:latin typeface="Corbel" panose="020B0503020204020204" pitchFamily="34" charset="0"/>
              <a:ea typeface="Calibri" panose="020F0502020204030204" pitchFamily="34" charset="0"/>
              <a:cs typeface="Arial" panose="020B0604020202020204" pitchFamily="34" charset="0"/>
            </a:rPr>
            <a:t>que se encuentran en control en establecimientos ambulatorios de especialidades y que, en el nivel primario de atención, presenten complicaciones asociadas su enfermedad y que requieran evaluación por médico especialista.</a:t>
          </a:r>
          <a:endParaRPr lang="es-CL" dirty="0"/>
        </a:p>
      </dgm:t>
    </dgm:pt>
    <dgm:pt modelId="{AEA4461A-ECBE-4652-913D-2CFFA7F724FB}" type="parTrans" cxnId="{F53A5D33-9394-49C0-A079-6D9D724459F4}">
      <dgm:prSet/>
      <dgm:spPr/>
      <dgm:t>
        <a:bodyPr/>
        <a:lstStyle/>
        <a:p>
          <a:endParaRPr lang="es-CL"/>
        </a:p>
      </dgm:t>
    </dgm:pt>
    <dgm:pt modelId="{9C7EB451-9A2F-48BB-86E8-28E8E14AA310}" type="sibTrans" cxnId="{F53A5D33-9394-49C0-A079-6D9D724459F4}">
      <dgm:prSet/>
      <dgm:spPr/>
      <dgm:t>
        <a:bodyPr/>
        <a:lstStyle/>
        <a:p>
          <a:endParaRPr lang="es-CL"/>
        </a:p>
      </dgm:t>
    </dgm:pt>
    <dgm:pt modelId="{BEBBBE0F-52AA-4F71-BDB7-C3AB6ECDBDD2}" type="pres">
      <dgm:prSet presAssocID="{1E6B7F93-7E39-4839-B0FE-A360AAB0077C}" presName="linear" presStyleCnt="0">
        <dgm:presLayoutVars>
          <dgm:animLvl val="lvl"/>
          <dgm:resizeHandles val="exact"/>
        </dgm:presLayoutVars>
      </dgm:prSet>
      <dgm:spPr/>
    </dgm:pt>
    <dgm:pt modelId="{BF56F909-F5D1-4981-AC66-FCAF87011853}" type="pres">
      <dgm:prSet presAssocID="{06734EF2-1603-44EA-85A6-3C85FA6FFD5B}" presName="parentText" presStyleLbl="node1" presStyleIdx="0" presStyleCnt="2" custLinFactNeighborY="-5678">
        <dgm:presLayoutVars>
          <dgm:chMax val="0"/>
          <dgm:bulletEnabled val="1"/>
        </dgm:presLayoutVars>
      </dgm:prSet>
      <dgm:spPr/>
    </dgm:pt>
    <dgm:pt modelId="{D3036103-EC74-4C14-B2AE-B8275387E4B9}" type="pres">
      <dgm:prSet presAssocID="{06734EF2-1603-44EA-85A6-3C85FA6FFD5B}" presName="childText" presStyleLbl="revTx" presStyleIdx="0" presStyleCnt="2">
        <dgm:presLayoutVars>
          <dgm:bulletEnabled val="1"/>
        </dgm:presLayoutVars>
      </dgm:prSet>
      <dgm:spPr/>
    </dgm:pt>
    <dgm:pt modelId="{855AAC1A-A3AA-4D44-9F53-CC5FFC21B478}" type="pres">
      <dgm:prSet presAssocID="{97D70A74-843E-46D8-B02E-3E885C80B417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FDC2AAE7-B26E-4941-90E6-4B78F04C528D}" type="pres">
      <dgm:prSet presAssocID="{97D70A74-843E-46D8-B02E-3E885C80B417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CAABD607-E806-44A9-904B-3101DC7449CF}" type="presOf" srcId="{1DD66FEA-4E8B-4151-85CD-E2A1528671FE}" destId="{D3036103-EC74-4C14-B2AE-B8275387E4B9}" srcOrd="0" destOrd="0" presId="urn:microsoft.com/office/officeart/2005/8/layout/vList2"/>
    <dgm:cxn modelId="{4F97321D-AE9C-4061-97BF-61814CEEAD35}" srcId="{1E6B7F93-7E39-4839-B0FE-A360AAB0077C}" destId="{97D70A74-843E-46D8-B02E-3E885C80B417}" srcOrd="1" destOrd="0" parTransId="{198CD430-8F48-4FD7-B9E3-A94F65CB26C6}" sibTransId="{628FD32C-EE55-4010-B504-6DDCD2D73F50}"/>
    <dgm:cxn modelId="{F53A5D33-9394-49C0-A079-6D9D724459F4}" srcId="{97D70A74-843E-46D8-B02E-3E885C80B417}" destId="{EFEDC425-F303-488A-AE05-4B621F55D18B}" srcOrd="0" destOrd="0" parTransId="{AEA4461A-ECBE-4652-913D-2CFFA7F724FB}" sibTransId="{9C7EB451-9A2F-48BB-86E8-28E8E14AA310}"/>
    <dgm:cxn modelId="{64F79D67-4811-4D11-8417-B55F459269F6}" type="presOf" srcId="{06734EF2-1603-44EA-85A6-3C85FA6FFD5B}" destId="{BF56F909-F5D1-4981-AC66-FCAF87011853}" srcOrd="0" destOrd="0" presId="urn:microsoft.com/office/officeart/2005/8/layout/vList2"/>
    <dgm:cxn modelId="{D9A2E652-2892-4210-B823-35E6DEF273AB}" type="presOf" srcId="{1E6B7F93-7E39-4839-B0FE-A360AAB0077C}" destId="{BEBBBE0F-52AA-4F71-BDB7-C3AB6ECDBDD2}" srcOrd="0" destOrd="0" presId="urn:microsoft.com/office/officeart/2005/8/layout/vList2"/>
    <dgm:cxn modelId="{4EE78D57-344A-4EDC-9648-176AD84693D7}" srcId="{06734EF2-1603-44EA-85A6-3C85FA6FFD5B}" destId="{1DD66FEA-4E8B-4151-85CD-E2A1528671FE}" srcOrd="0" destOrd="0" parTransId="{A60C5E4E-5F41-4112-9419-9999BDD7B10A}" sibTransId="{F99F4F2D-DAC9-4717-8A3B-D117276D1D2A}"/>
    <dgm:cxn modelId="{00F39958-D45C-46F2-928A-4472E8B4328A}" type="presOf" srcId="{EFEDC425-F303-488A-AE05-4B621F55D18B}" destId="{FDC2AAE7-B26E-4941-90E6-4B78F04C528D}" srcOrd="0" destOrd="0" presId="urn:microsoft.com/office/officeart/2005/8/layout/vList2"/>
    <dgm:cxn modelId="{5D72AA9A-2D08-4BE3-8BA7-BDC8B67F9CE8}" srcId="{1E6B7F93-7E39-4839-B0FE-A360AAB0077C}" destId="{06734EF2-1603-44EA-85A6-3C85FA6FFD5B}" srcOrd="0" destOrd="0" parTransId="{CB074DB9-DB6B-45DE-A673-AE45848E70BA}" sibTransId="{E423ECE6-CB19-49CE-B64A-69AC4C403A78}"/>
    <dgm:cxn modelId="{93A857BA-3D45-4FD9-B19A-189FFB319D53}" type="presOf" srcId="{97D70A74-843E-46D8-B02E-3E885C80B417}" destId="{855AAC1A-A3AA-4D44-9F53-CC5FFC21B478}" srcOrd="0" destOrd="0" presId="urn:microsoft.com/office/officeart/2005/8/layout/vList2"/>
    <dgm:cxn modelId="{DA7834E9-FE44-444A-A364-8A71A698153E}" type="presParOf" srcId="{BEBBBE0F-52AA-4F71-BDB7-C3AB6ECDBDD2}" destId="{BF56F909-F5D1-4981-AC66-FCAF87011853}" srcOrd="0" destOrd="0" presId="urn:microsoft.com/office/officeart/2005/8/layout/vList2"/>
    <dgm:cxn modelId="{C4616639-2D9E-43D7-BB4E-2BC6783AE502}" type="presParOf" srcId="{BEBBBE0F-52AA-4F71-BDB7-C3AB6ECDBDD2}" destId="{D3036103-EC74-4C14-B2AE-B8275387E4B9}" srcOrd="1" destOrd="0" presId="urn:microsoft.com/office/officeart/2005/8/layout/vList2"/>
    <dgm:cxn modelId="{704B2980-6814-4C47-9A0B-C2BADF1D49A3}" type="presParOf" srcId="{BEBBBE0F-52AA-4F71-BDB7-C3AB6ECDBDD2}" destId="{855AAC1A-A3AA-4D44-9F53-CC5FFC21B478}" srcOrd="2" destOrd="0" presId="urn:microsoft.com/office/officeart/2005/8/layout/vList2"/>
    <dgm:cxn modelId="{3321F8F7-A821-4B64-BB4C-E96E12C1F0D1}" type="presParOf" srcId="{BEBBBE0F-52AA-4F71-BDB7-C3AB6ECDBDD2}" destId="{FDC2AAE7-B26E-4941-90E6-4B78F04C528D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A109474-E9B6-441F-B44A-787D1D5776AE}" type="doc">
      <dgm:prSet loTypeId="urn:microsoft.com/office/officeart/2005/8/layout/defaul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L"/>
        </a:p>
      </dgm:t>
    </dgm:pt>
    <dgm:pt modelId="{2AE6B226-B19B-4B8A-B9C3-5F0614DF94BA}">
      <dgm:prSet phldrT="[Texto]"/>
      <dgm:spPr/>
      <dgm:t>
        <a:bodyPr/>
        <a:lstStyle/>
        <a:p>
          <a:r>
            <a:rPr lang="es-CL" dirty="0"/>
            <a:t>Programación de Atenciones </a:t>
          </a:r>
        </a:p>
      </dgm:t>
    </dgm:pt>
    <dgm:pt modelId="{96B2CFD2-8B64-4145-9615-2859436D5942}" type="parTrans" cxnId="{189422A4-EBDB-43DF-8523-15E44EA40790}">
      <dgm:prSet/>
      <dgm:spPr/>
      <dgm:t>
        <a:bodyPr/>
        <a:lstStyle/>
        <a:p>
          <a:endParaRPr lang="es-CL"/>
        </a:p>
      </dgm:t>
    </dgm:pt>
    <dgm:pt modelId="{BA052CCC-A292-4F74-BB3A-A07A9DD06CA6}" type="sibTrans" cxnId="{189422A4-EBDB-43DF-8523-15E44EA40790}">
      <dgm:prSet/>
      <dgm:spPr/>
      <dgm:t>
        <a:bodyPr/>
        <a:lstStyle/>
        <a:p>
          <a:endParaRPr lang="es-CL"/>
        </a:p>
      </dgm:t>
    </dgm:pt>
    <dgm:pt modelId="{2EAED77A-CA3E-4F98-892D-5A53DAD49511}">
      <dgm:prSet phldrT="[Texto]"/>
      <dgm:spPr/>
      <dgm:t>
        <a:bodyPr/>
        <a:lstStyle/>
        <a:p>
          <a:r>
            <a:rPr lang="es-CL" dirty="0"/>
            <a:t>Solicitud de interconsulta: 20 min</a:t>
          </a:r>
        </a:p>
      </dgm:t>
    </dgm:pt>
    <dgm:pt modelId="{BEFE5911-B5C1-4D0F-9EAD-A9EFA102F123}" type="parTrans" cxnId="{1DD541B1-24DE-48D6-88FF-42F18DE3010C}">
      <dgm:prSet/>
      <dgm:spPr/>
      <dgm:t>
        <a:bodyPr/>
        <a:lstStyle/>
        <a:p>
          <a:endParaRPr lang="es-CL"/>
        </a:p>
      </dgm:t>
    </dgm:pt>
    <dgm:pt modelId="{3E85515B-8B67-4012-818F-08420EF71A62}" type="sibTrans" cxnId="{1DD541B1-24DE-48D6-88FF-42F18DE3010C}">
      <dgm:prSet/>
      <dgm:spPr/>
      <dgm:t>
        <a:bodyPr/>
        <a:lstStyle/>
        <a:p>
          <a:endParaRPr lang="es-CL"/>
        </a:p>
      </dgm:t>
    </dgm:pt>
    <dgm:pt modelId="{4799BBBA-3B00-4A0C-9C86-61FDFBBDE9FC}">
      <dgm:prSet phldrT="[Texto]"/>
      <dgm:spPr/>
      <dgm:t>
        <a:bodyPr/>
        <a:lstStyle/>
        <a:p>
          <a:r>
            <a:rPr lang="es-CL" dirty="0"/>
            <a:t>Contar con Referentes de Salud Digital en cada establecimiento </a:t>
          </a:r>
        </a:p>
      </dgm:t>
    </dgm:pt>
    <dgm:pt modelId="{5C20B6C5-8A9B-472C-BE92-B34487FA7D24}" type="parTrans" cxnId="{4387F489-52AD-4F6A-A3EB-213D54B964A7}">
      <dgm:prSet/>
      <dgm:spPr/>
      <dgm:t>
        <a:bodyPr/>
        <a:lstStyle/>
        <a:p>
          <a:endParaRPr lang="es-CL"/>
        </a:p>
      </dgm:t>
    </dgm:pt>
    <dgm:pt modelId="{61240285-D9C4-45F9-B0F8-1C509DE56AD9}" type="sibTrans" cxnId="{4387F489-52AD-4F6A-A3EB-213D54B964A7}">
      <dgm:prSet/>
      <dgm:spPr/>
      <dgm:t>
        <a:bodyPr/>
        <a:lstStyle/>
        <a:p>
          <a:endParaRPr lang="es-CL"/>
        </a:p>
      </dgm:t>
    </dgm:pt>
    <dgm:pt modelId="{DC4964E2-8478-4C8E-85F6-B2AD7C071FBF}">
      <dgm:prSet phldrT="[Texto]"/>
      <dgm:spPr/>
      <dgm:t>
        <a:bodyPr/>
        <a:lstStyle/>
        <a:p>
          <a:r>
            <a:rPr lang="es-CL" dirty="0"/>
            <a:t>Para cierre de casos 15 min (presencial, videollamada o llamado telefónico)</a:t>
          </a:r>
        </a:p>
      </dgm:t>
    </dgm:pt>
    <dgm:pt modelId="{0A79A719-B131-4BB4-B266-C9B5018EC73F}" type="parTrans" cxnId="{D37AABBA-EA5B-42A5-8833-AB4F2C12CD2C}">
      <dgm:prSet/>
      <dgm:spPr/>
      <dgm:t>
        <a:bodyPr/>
        <a:lstStyle/>
        <a:p>
          <a:endParaRPr lang="es-CL"/>
        </a:p>
      </dgm:t>
    </dgm:pt>
    <dgm:pt modelId="{E17CBAB1-4698-43AF-9570-29C4BC65ECF3}" type="sibTrans" cxnId="{D37AABBA-EA5B-42A5-8833-AB4F2C12CD2C}">
      <dgm:prSet/>
      <dgm:spPr/>
      <dgm:t>
        <a:bodyPr/>
        <a:lstStyle/>
        <a:p>
          <a:endParaRPr lang="es-CL"/>
        </a:p>
      </dgm:t>
    </dgm:pt>
    <dgm:pt modelId="{335CA911-EA38-4E16-BB2E-D877D61EE5ED}">
      <dgm:prSet phldrT="[Texto]"/>
      <dgm:spPr/>
      <dgm:t>
        <a:bodyPr/>
        <a:lstStyle/>
        <a:p>
          <a:r>
            <a:rPr lang="es-CL" dirty="0"/>
            <a:t>La entrega de respuesta no debe exceder los 30 días. </a:t>
          </a:r>
        </a:p>
      </dgm:t>
    </dgm:pt>
    <dgm:pt modelId="{10BCE09A-212D-49DB-A94C-0E951C8FD9DF}" type="parTrans" cxnId="{1A0261AA-0C25-4AC3-8279-DCD1444904AF}">
      <dgm:prSet/>
      <dgm:spPr/>
      <dgm:t>
        <a:bodyPr/>
        <a:lstStyle/>
        <a:p>
          <a:endParaRPr lang="es-CL"/>
        </a:p>
      </dgm:t>
    </dgm:pt>
    <dgm:pt modelId="{854A7E0B-7626-471D-A038-37D132B9219D}" type="sibTrans" cxnId="{1A0261AA-0C25-4AC3-8279-DCD1444904AF}">
      <dgm:prSet/>
      <dgm:spPr/>
      <dgm:t>
        <a:bodyPr/>
        <a:lstStyle/>
        <a:p>
          <a:endParaRPr lang="es-CL"/>
        </a:p>
      </dgm:t>
    </dgm:pt>
    <dgm:pt modelId="{88ADE314-F7E4-4FB8-BBF9-2D96B1D0524D}">
      <dgm:prSet phldrT="[Texto]"/>
      <dgm:spPr/>
      <dgm:t>
        <a:bodyPr/>
        <a:lstStyle/>
        <a:p>
          <a:r>
            <a:rPr lang="es-MX" dirty="0"/>
            <a:t>4 Establecimientos nuevos</a:t>
          </a:r>
          <a:endParaRPr lang="es-CL" dirty="0"/>
        </a:p>
      </dgm:t>
    </dgm:pt>
    <dgm:pt modelId="{87821627-69C2-4FC2-93C6-00C671461BEC}" type="parTrans" cxnId="{DF8963FF-CB09-4C03-AE57-B10DE450AB7C}">
      <dgm:prSet/>
      <dgm:spPr/>
    </dgm:pt>
    <dgm:pt modelId="{3D9BCEF6-91DD-4D8E-BD61-F5DA8E55A02E}" type="sibTrans" cxnId="{DF8963FF-CB09-4C03-AE57-B10DE450AB7C}">
      <dgm:prSet/>
      <dgm:spPr/>
    </dgm:pt>
    <dgm:pt modelId="{8E2BACD0-4008-4EDD-A382-D67CACC89471}">
      <dgm:prSet phldrT="[Texto]"/>
      <dgm:spPr/>
      <dgm:t>
        <a:bodyPr/>
        <a:lstStyle/>
        <a:p>
          <a:r>
            <a:rPr lang="es-MX" dirty="0"/>
            <a:t>Trabajo coordinado con APS </a:t>
          </a:r>
          <a:endParaRPr lang="es-CL" dirty="0"/>
        </a:p>
      </dgm:t>
    </dgm:pt>
    <dgm:pt modelId="{E00314FA-DA39-4571-8B1C-567EAB600CF1}" type="parTrans" cxnId="{D728BC59-4996-4B83-B0EB-694B5622ADA6}">
      <dgm:prSet/>
      <dgm:spPr/>
    </dgm:pt>
    <dgm:pt modelId="{B45DAF94-B148-47B5-8DF2-52ED697C07CA}" type="sibTrans" cxnId="{D728BC59-4996-4B83-B0EB-694B5622ADA6}">
      <dgm:prSet/>
      <dgm:spPr/>
    </dgm:pt>
    <dgm:pt modelId="{8222BA0C-C554-4ACC-86DB-4D0D6F27864A}" type="pres">
      <dgm:prSet presAssocID="{DA109474-E9B6-441F-B44A-787D1D5776AE}" presName="diagram" presStyleCnt="0">
        <dgm:presLayoutVars>
          <dgm:dir/>
          <dgm:resizeHandles val="exact"/>
        </dgm:presLayoutVars>
      </dgm:prSet>
      <dgm:spPr/>
    </dgm:pt>
    <dgm:pt modelId="{FE50865A-14F7-489A-A31C-69217B7DE09D}" type="pres">
      <dgm:prSet presAssocID="{2AE6B226-B19B-4B8A-B9C3-5F0614DF94BA}" presName="node" presStyleLbl="node1" presStyleIdx="0" presStyleCnt="7">
        <dgm:presLayoutVars>
          <dgm:bulletEnabled val="1"/>
        </dgm:presLayoutVars>
      </dgm:prSet>
      <dgm:spPr/>
    </dgm:pt>
    <dgm:pt modelId="{93FE97C0-0949-4357-B219-C4DA1C15F0C6}" type="pres">
      <dgm:prSet presAssocID="{BA052CCC-A292-4F74-BB3A-A07A9DD06CA6}" presName="sibTrans" presStyleCnt="0"/>
      <dgm:spPr/>
    </dgm:pt>
    <dgm:pt modelId="{3454B785-8853-40D8-8673-0748BF7D9F67}" type="pres">
      <dgm:prSet presAssocID="{2EAED77A-CA3E-4F98-892D-5A53DAD49511}" presName="node" presStyleLbl="node1" presStyleIdx="1" presStyleCnt="7">
        <dgm:presLayoutVars>
          <dgm:bulletEnabled val="1"/>
        </dgm:presLayoutVars>
      </dgm:prSet>
      <dgm:spPr/>
    </dgm:pt>
    <dgm:pt modelId="{5FDD8605-ECB9-4E75-8981-2CAE960BFA66}" type="pres">
      <dgm:prSet presAssocID="{3E85515B-8B67-4012-818F-08420EF71A62}" presName="sibTrans" presStyleCnt="0"/>
      <dgm:spPr/>
    </dgm:pt>
    <dgm:pt modelId="{08556872-E7CA-4EB4-8E14-3F97CD5EF4B9}" type="pres">
      <dgm:prSet presAssocID="{DC4964E2-8478-4C8E-85F6-B2AD7C071FBF}" presName="node" presStyleLbl="node1" presStyleIdx="2" presStyleCnt="7">
        <dgm:presLayoutVars>
          <dgm:bulletEnabled val="1"/>
        </dgm:presLayoutVars>
      </dgm:prSet>
      <dgm:spPr/>
    </dgm:pt>
    <dgm:pt modelId="{E64A92EA-1ED7-4446-AC48-411BEBE53604}" type="pres">
      <dgm:prSet presAssocID="{E17CBAB1-4698-43AF-9570-29C4BC65ECF3}" presName="sibTrans" presStyleCnt="0"/>
      <dgm:spPr/>
    </dgm:pt>
    <dgm:pt modelId="{D57EC75D-4402-403F-B7A6-69902AD5A924}" type="pres">
      <dgm:prSet presAssocID="{335CA911-EA38-4E16-BB2E-D877D61EE5ED}" presName="node" presStyleLbl="node1" presStyleIdx="3" presStyleCnt="7">
        <dgm:presLayoutVars>
          <dgm:bulletEnabled val="1"/>
        </dgm:presLayoutVars>
      </dgm:prSet>
      <dgm:spPr/>
    </dgm:pt>
    <dgm:pt modelId="{11113C77-7916-4809-8F34-FB9D966F28DC}" type="pres">
      <dgm:prSet presAssocID="{854A7E0B-7626-471D-A038-37D132B9219D}" presName="sibTrans" presStyleCnt="0"/>
      <dgm:spPr/>
    </dgm:pt>
    <dgm:pt modelId="{62A9EC2E-9E30-43D2-8BEC-A2C2D4A70D54}" type="pres">
      <dgm:prSet presAssocID="{4799BBBA-3B00-4A0C-9C86-61FDFBBDE9FC}" presName="node" presStyleLbl="node1" presStyleIdx="4" presStyleCnt="7">
        <dgm:presLayoutVars>
          <dgm:bulletEnabled val="1"/>
        </dgm:presLayoutVars>
      </dgm:prSet>
      <dgm:spPr/>
    </dgm:pt>
    <dgm:pt modelId="{921B3CCE-6F04-4F9B-BCE0-00E614AB0B3F}" type="pres">
      <dgm:prSet presAssocID="{61240285-D9C4-45F9-B0F8-1C509DE56AD9}" presName="sibTrans" presStyleCnt="0"/>
      <dgm:spPr/>
    </dgm:pt>
    <dgm:pt modelId="{8EED7682-07E8-4F4E-83FE-FAAB5C83F90F}" type="pres">
      <dgm:prSet presAssocID="{88ADE314-F7E4-4FB8-BBF9-2D96B1D0524D}" presName="node" presStyleLbl="node1" presStyleIdx="5" presStyleCnt="7">
        <dgm:presLayoutVars>
          <dgm:bulletEnabled val="1"/>
        </dgm:presLayoutVars>
      </dgm:prSet>
      <dgm:spPr/>
    </dgm:pt>
    <dgm:pt modelId="{5508A5C9-CBE5-4A43-BA3F-F87620E3E0AE}" type="pres">
      <dgm:prSet presAssocID="{3D9BCEF6-91DD-4D8E-BD61-F5DA8E55A02E}" presName="sibTrans" presStyleCnt="0"/>
      <dgm:spPr/>
    </dgm:pt>
    <dgm:pt modelId="{16EF92E2-EB2D-4322-8A46-31F30DF43441}" type="pres">
      <dgm:prSet presAssocID="{8E2BACD0-4008-4EDD-A382-D67CACC89471}" presName="node" presStyleLbl="node1" presStyleIdx="6" presStyleCnt="7">
        <dgm:presLayoutVars>
          <dgm:bulletEnabled val="1"/>
        </dgm:presLayoutVars>
      </dgm:prSet>
      <dgm:spPr/>
    </dgm:pt>
  </dgm:ptLst>
  <dgm:cxnLst>
    <dgm:cxn modelId="{B22F1F0D-5CC7-4535-BC74-01F5526A71D3}" type="presOf" srcId="{2AE6B226-B19B-4B8A-B9C3-5F0614DF94BA}" destId="{FE50865A-14F7-489A-A31C-69217B7DE09D}" srcOrd="0" destOrd="0" presId="urn:microsoft.com/office/officeart/2005/8/layout/default"/>
    <dgm:cxn modelId="{AC271136-1B6A-49F4-99C8-96707BDDAB84}" type="presOf" srcId="{DC4964E2-8478-4C8E-85F6-B2AD7C071FBF}" destId="{08556872-E7CA-4EB4-8E14-3F97CD5EF4B9}" srcOrd="0" destOrd="0" presId="urn:microsoft.com/office/officeart/2005/8/layout/default"/>
    <dgm:cxn modelId="{C7DADA40-7B12-4CC8-93A7-4D03A58A247B}" type="presOf" srcId="{8E2BACD0-4008-4EDD-A382-D67CACC89471}" destId="{16EF92E2-EB2D-4322-8A46-31F30DF43441}" srcOrd="0" destOrd="0" presId="urn:microsoft.com/office/officeart/2005/8/layout/default"/>
    <dgm:cxn modelId="{38437D5C-D11D-4449-8D01-C16602DA4B99}" type="presOf" srcId="{88ADE314-F7E4-4FB8-BBF9-2D96B1D0524D}" destId="{8EED7682-07E8-4F4E-83FE-FAAB5C83F90F}" srcOrd="0" destOrd="0" presId="urn:microsoft.com/office/officeart/2005/8/layout/default"/>
    <dgm:cxn modelId="{80BA6158-9589-4D2A-B2AA-64E5CFBD2A93}" type="presOf" srcId="{2EAED77A-CA3E-4F98-892D-5A53DAD49511}" destId="{3454B785-8853-40D8-8673-0748BF7D9F67}" srcOrd="0" destOrd="0" presId="urn:microsoft.com/office/officeart/2005/8/layout/default"/>
    <dgm:cxn modelId="{D728BC59-4996-4B83-B0EB-694B5622ADA6}" srcId="{DA109474-E9B6-441F-B44A-787D1D5776AE}" destId="{8E2BACD0-4008-4EDD-A382-D67CACC89471}" srcOrd="6" destOrd="0" parTransId="{E00314FA-DA39-4571-8B1C-567EAB600CF1}" sibTransId="{B45DAF94-B148-47B5-8DF2-52ED697C07CA}"/>
    <dgm:cxn modelId="{4387F489-52AD-4F6A-A3EB-213D54B964A7}" srcId="{DA109474-E9B6-441F-B44A-787D1D5776AE}" destId="{4799BBBA-3B00-4A0C-9C86-61FDFBBDE9FC}" srcOrd="4" destOrd="0" parTransId="{5C20B6C5-8A9B-472C-BE92-B34487FA7D24}" sibTransId="{61240285-D9C4-45F9-B0F8-1C509DE56AD9}"/>
    <dgm:cxn modelId="{189422A4-EBDB-43DF-8523-15E44EA40790}" srcId="{DA109474-E9B6-441F-B44A-787D1D5776AE}" destId="{2AE6B226-B19B-4B8A-B9C3-5F0614DF94BA}" srcOrd="0" destOrd="0" parTransId="{96B2CFD2-8B64-4145-9615-2859436D5942}" sibTransId="{BA052CCC-A292-4F74-BB3A-A07A9DD06CA6}"/>
    <dgm:cxn modelId="{895D67A8-8F55-4D20-B831-6CBCCD6005D9}" type="presOf" srcId="{4799BBBA-3B00-4A0C-9C86-61FDFBBDE9FC}" destId="{62A9EC2E-9E30-43D2-8BEC-A2C2D4A70D54}" srcOrd="0" destOrd="0" presId="urn:microsoft.com/office/officeart/2005/8/layout/default"/>
    <dgm:cxn modelId="{1A0261AA-0C25-4AC3-8279-DCD1444904AF}" srcId="{DA109474-E9B6-441F-B44A-787D1D5776AE}" destId="{335CA911-EA38-4E16-BB2E-D877D61EE5ED}" srcOrd="3" destOrd="0" parTransId="{10BCE09A-212D-49DB-A94C-0E951C8FD9DF}" sibTransId="{854A7E0B-7626-471D-A038-37D132B9219D}"/>
    <dgm:cxn modelId="{1DD541B1-24DE-48D6-88FF-42F18DE3010C}" srcId="{DA109474-E9B6-441F-B44A-787D1D5776AE}" destId="{2EAED77A-CA3E-4F98-892D-5A53DAD49511}" srcOrd="1" destOrd="0" parTransId="{BEFE5911-B5C1-4D0F-9EAD-A9EFA102F123}" sibTransId="{3E85515B-8B67-4012-818F-08420EF71A62}"/>
    <dgm:cxn modelId="{956281B4-0203-4919-98A0-D96B368F00DC}" type="presOf" srcId="{335CA911-EA38-4E16-BB2E-D877D61EE5ED}" destId="{D57EC75D-4402-403F-B7A6-69902AD5A924}" srcOrd="0" destOrd="0" presId="urn:microsoft.com/office/officeart/2005/8/layout/default"/>
    <dgm:cxn modelId="{D37AABBA-EA5B-42A5-8833-AB4F2C12CD2C}" srcId="{DA109474-E9B6-441F-B44A-787D1D5776AE}" destId="{DC4964E2-8478-4C8E-85F6-B2AD7C071FBF}" srcOrd="2" destOrd="0" parTransId="{0A79A719-B131-4BB4-B266-C9B5018EC73F}" sibTransId="{E17CBAB1-4698-43AF-9570-29C4BC65ECF3}"/>
    <dgm:cxn modelId="{06568FFB-088E-4E8C-B075-3832FEF72995}" type="presOf" srcId="{DA109474-E9B6-441F-B44A-787D1D5776AE}" destId="{8222BA0C-C554-4ACC-86DB-4D0D6F27864A}" srcOrd="0" destOrd="0" presId="urn:microsoft.com/office/officeart/2005/8/layout/default"/>
    <dgm:cxn modelId="{DF8963FF-CB09-4C03-AE57-B10DE450AB7C}" srcId="{DA109474-E9B6-441F-B44A-787D1D5776AE}" destId="{88ADE314-F7E4-4FB8-BBF9-2D96B1D0524D}" srcOrd="5" destOrd="0" parTransId="{87821627-69C2-4FC2-93C6-00C671461BEC}" sibTransId="{3D9BCEF6-91DD-4D8E-BD61-F5DA8E55A02E}"/>
    <dgm:cxn modelId="{8B69DB4B-DB3A-410B-8428-929B62E5DFC3}" type="presParOf" srcId="{8222BA0C-C554-4ACC-86DB-4D0D6F27864A}" destId="{FE50865A-14F7-489A-A31C-69217B7DE09D}" srcOrd="0" destOrd="0" presId="urn:microsoft.com/office/officeart/2005/8/layout/default"/>
    <dgm:cxn modelId="{6EE6D832-CE76-4CCF-99F3-9033E03AA9C6}" type="presParOf" srcId="{8222BA0C-C554-4ACC-86DB-4D0D6F27864A}" destId="{93FE97C0-0949-4357-B219-C4DA1C15F0C6}" srcOrd="1" destOrd="0" presId="urn:microsoft.com/office/officeart/2005/8/layout/default"/>
    <dgm:cxn modelId="{9D70B52C-CA21-4E19-89A7-537590E637F1}" type="presParOf" srcId="{8222BA0C-C554-4ACC-86DB-4D0D6F27864A}" destId="{3454B785-8853-40D8-8673-0748BF7D9F67}" srcOrd="2" destOrd="0" presId="urn:microsoft.com/office/officeart/2005/8/layout/default"/>
    <dgm:cxn modelId="{C05B8FAB-DD6C-4117-91F1-5C38FA35BA63}" type="presParOf" srcId="{8222BA0C-C554-4ACC-86DB-4D0D6F27864A}" destId="{5FDD8605-ECB9-4E75-8981-2CAE960BFA66}" srcOrd="3" destOrd="0" presId="urn:microsoft.com/office/officeart/2005/8/layout/default"/>
    <dgm:cxn modelId="{FF4C7BAB-83EB-435A-B8FC-B3C03CC5F996}" type="presParOf" srcId="{8222BA0C-C554-4ACC-86DB-4D0D6F27864A}" destId="{08556872-E7CA-4EB4-8E14-3F97CD5EF4B9}" srcOrd="4" destOrd="0" presId="urn:microsoft.com/office/officeart/2005/8/layout/default"/>
    <dgm:cxn modelId="{2B912324-2291-4688-AF4E-4D9B23EF2F42}" type="presParOf" srcId="{8222BA0C-C554-4ACC-86DB-4D0D6F27864A}" destId="{E64A92EA-1ED7-4446-AC48-411BEBE53604}" srcOrd="5" destOrd="0" presId="urn:microsoft.com/office/officeart/2005/8/layout/default"/>
    <dgm:cxn modelId="{161F998A-628A-475D-BB0A-5CDF660A9777}" type="presParOf" srcId="{8222BA0C-C554-4ACC-86DB-4D0D6F27864A}" destId="{D57EC75D-4402-403F-B7A6-69902AD5A924}" srcOrd="6" destOrd="0" presId="urn:microsoft.com/office/officeart/2005/8/layout/default"/>
    <dgm:cxn modelId="{5EEFC69E-60B6-4B7A-B3CC-C905B185CBF4}" type="presParOf" srcId="{8222BA0C-C554-4ACC-86DB-4D0D6F27864A}" destId="{11113C77-7916-4809-8F34-FB9D966F28DC}" srcOrd="7" destOrd="0" presId="urn:microsoft.com/office/officeart/2005/8/layout/default"/>
    <dgm:cxn modelId="{A2E7D785-AF60-415F-BCBD-3934A406DDD8}" type="presParOf" srcId="{8222BA0C-C554-4ACC-86DB-4D0D6F27864A}" destId="{62A9EC2E-9E30-43D2-8BEC-A2C2D4A70D54}" srcOrd="8" destOrd="0" presId="urn:microsoft.com/office/officeart/2005/8/layout/default"/>
    <dgm:cxn modelId="{1202C2EE-857C-4183-A34A-2E274BBD0881}" type="presParOf" srcId="{8222BA0C-C554-4ACC-86DB-4D0D6F27864A}" destId="{921B3CCE-6F04-4F9B-BCE0-00E614AB0B3F}" srcOrd="9" destOrd="0" presId="urn:microsoft.com/office/officeart/2005/8/layout/default"/>
    <dgm:cxn modelId="{BBD90E5B-F09D-48CD-8C8C-5D5D50CE141E}" type="presParOf" srcId="{8222BA0C-C554-4ACC-86DB-4D0D6F27864A}" destId="{8EED7682-07E8-4F4E-83FE-FAAB5C83F90F}" srcOrd="10" destOrd="0" presId="urn:microsoft.com/office/officeart/2005/8/layout/default"/>
    <dgm:cxn modelId="{5DE0FD18-A0E1-4D82-840C-4E44434A4C64}" type="presParOf" srcId="{8222BA0C-C554-4ACC-86DB-4D0D6F27864A}" destId="{5508A5C9-CBE5-4A43-BA3F-F87620E3E0AE}" srcOrd="11" destOrd="0" presId="urn:microsoft.com/office/officeart/2005/8/layout/default"/>
    <dgm:cxn modelId="{1CF6A1D7-C549-4F4E-8645-544B6594EB27}" type="presParOf" srcId="{8222BA0C-C554-4ACC-86DB-4D0D6F27864A}" destId="{16EF92E2-EB2D-4322-8A46-31F30DF43441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E41646D-B4AE-45B6-AA18-855D2129422F}" type="doc">
      <dgm:prSet loTypeId="urn:microsoft.com/office/officeart/2005/8/layout/defaul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L"/>
        </a:p>
      </dgm:t>
    </dgm:pt>
    <dgm:pt modelId="{993161C5-99A7-4F8D-9988-7F81E53606F9}">
      <dgm:prSet phldrT="[Texto]"/>
      <dgm:spPr/>
      <dgm:t>
        <a:bodyPr/>
        <a:lstStyle/>
        <a:p>
          <a:r>
            <a:rPr lang="es-MX" dirty="0"/>
            <a:t>Mantener las reuniones periódicas con los Referentes de APS que participen en las estrategias de Salud Digital</a:t>
          </a:r>
          <a:endParaRPr lang="es-CL" dirty="0"/>
        </a:p>
      </dgm:t>
    </dgm:pt>
    <dgm:pt modelId="{47C681DC-803A-4D27-B68F-8D0694DFC370}" type="parTrans" cxnId="{8307B828-3C6F-4EB7-A64A-02819DB87CD6}">
      <dgm:prSet/>
      <dgm:spPr/>
      <dgm:t>
        <a:bodyPr/>
        <a:lstStyle/>
        <a:p>
          <a:endParaRPr lang="es-CL"/>
        </a:p>
      </dgm:t>
    </dgm:pt>
    <dgm:pt modelId="{254D5E9C-2E8E-4655-B900-C1FC0EE9DDD9}" type="sibTrans" cxnId="{8307B828-3C6F-4EB7-A64A-02819DB87CD6}">
      <dgm:prSet/>
      <dgm:spPr/>
      <dgm:t>
        <a:bodyPr/>
        <a:lstStyle/>
        <a:p>
          <a:endParaRPr lang="es-CL"/>
        </a:p>
      </dgm:t>
    </dgm:pt>
    <dgm:pt modelId="{CBB90239-6892-4F62-8F78-B3D8BD96D323}">
      <dgm:prSet phldrT="[Texto]"/>
      <dgm:spPr/>
      <dgm:t>
        <a:bodyPr/>
        <a:lstStyle/>
        <a:p>
          <a:r>
            <a:rPr lang="es-MX" dirty="0"/>
            <a:t>Presentar en reuniones de Jefes de Salud para dar a conocer las estrategias y su importancia para la red </a:t>
          </a:r>
          <a:endParaRPr lang="es-CL" dirty="0"/>
        </a:p>
      </dgm:t>
    </dgm:pt>
    <dgm:pt modelId="{E84BE1AC-D8F7-4892-A859-532ACDC0FC2B}" type="parTrans" cxnId="{B9A07C12-7179-4169-A31B-B149B48F033C}">
      <dgm:prSet/>
      <dgm:spPr/>
      <dgm:t>
        <a:bodyPr/>
        <a:lstStyle/>
        <a:p>
          <a:endParaRPr lang="es-CL"/>
        </a:p>
      </dgm:t>
    </dgm:pt>
    <dgm:pt modelId="{AE8F2AB5-9F3F-41F6-A357-A3EF85E58364}" type="sibTrans" cxnId="{B9A07C12-7179-4169-A31B-B149B48F033C}">
      <dgm:prSet/>
      <dgm:spPr/>
      <dgm:t>
        <a:bodyPr/>
        <a:lstStyle/>
        <a:p>
          <a:endParaRPr lang="es-CL"/>
        </a:p>
      </dgm:t>
    </dgm:pt>
    <dgm:pt modelId="{BF152056-310C-4E3E-A82A-CEE06517734E}">
      <dgm:prSet phldrT="[Texto]"/>
      <dgm:spPr/>
      <dgm:t>
        <a:bodyPr/>
        <a:lstStyle/>
        <a:p>
          <a:r>
            <a:rPr lang="es-MX" dirty="0"/>
            <a:t>Fortalecer la imagen del Referente de Salud Digital en cada establecimiento </a:t>
          </a:r>
          <a:endParaRPr lang="es-CL" dirty="0"/>
        </a:p>
      </dgm:t>
    </dgm:pt>
    <dgm:pt modelId="{1BA930FF-1F20-40E1-BC34-6CE41D18EF33}" type="parTrans" cxnId="{412D254A-7492-456B-822A-62E8687A95BC}">
      <dgm:prSet/>
      <dgm:spPr/>
      <dgm:t>
        <a:bodyPr/>
        <a:lstStyle/>
        <a:p>
          <a:endParaRPr lang="es-CL"/>
        </a:p>
      </dgm:t>
    </dgm:pt>
    <dgm:pt modelId="{514D9369-1C86-4542-94E6-9D2FF650F9F5}" type="sibTrans" cxnId="{412D254A-7492-456B-822A-62E8687A95BC}">
      <dgm:prSet/>
      <dgm:spPr/>
      <dgm:t>
        <a:bodyPr/>
        <a:lstStyle/>
        <a:p>
          <a:endParaRPr lang="es-CL"/>
        </a:p>
      </dgm:t>
    </dgm:pt>
    <dgm:pt modelId="{807D2CEA-4AC6-4387-838E-32433CA986D8}">
      <dgm:prSet phldrT="[Texto]"/>
      <dgm:spPr/>
      <dgm:t>
        <a:bodyPr/>
        <a:lstStyle/>
        <a:p>
          <a:r>
            <a:rPr lang="es-MX" dirty="0"/>
            <a:t>Entregar lineamientos ministeriales a los establecimientos </a:t>
          </a:r>
          <a:endParaRPr lang="es-CL" dirty="0"/>
        </a:p>
      </dgm:t>
    </dgm:pt>
    <dgm:pt modelId="{626AAD89-8D1F-4180-A81C-2DEDF8463D53}" type="parTrans" cxnId="{1AABBC29-14AA-4731-96F7-66D9BE6D6821}">
      <dgm:prSet/>
      <dgm:spPr/>
      <dgm:t>
        <a:bodyPr/>
        <a:lstStyle/>
        <a:p>
          <a:endParaRPr lang="es-CL"/>
        </a:p>
      </dgm:t>
    </dgm:pt>
    <dgm:pt modelId="{EE88AD69-2B31-4266-AFC7-30CA04405E0D}" type="sibTrans" cxnId="{1AABBC29-14AA-4731-96F7-66D9BE6D6821}">
      <dgm:prSet/>
      <dgm:spPr/>
      <dgm:t>
        <a:bodyPr/>
        <a:lstStyle/>
        <a:p>
          <a:endParaRPr lang="es-CL"/>
        </a:p>
      </dgm:t>
    </dgm:pt>
    <dgm:pt modelId="{10D60644-958F-4791-B792-6BF362923296}">
      <dgm:prSet phldrT="[Texto]"/>
      <dgm:spPr/>
      <dgm:t>
        <a:bodyPr/>
        <a:lstStyle/>
        <a:p>
          <a:r>
            <a:rPr lang="es-MX" dirty="0"/>
            <a:t>Participar en reunión de Referentes para aclarar dudas y retroalimentar sobre el avance de las estrategias</a:t>
          </a:r>
          <a:endParaRPr lang="es-CL" dirty="0"/>
        </a:p>
      </dgm:t>
    </dgm:pt>
    <dgm:pt modelId="{007EE2B4-C599-403E-9072-3192E13927FF}" type="parTrans" cxnId="{5865285A-1A4F-4137-A998-D90855AB1D0E}">
      <dgm:prSet/>
      <dgm:spPr/>
      <dgm:t>
        <a:bodyPr/>
        <a:lstStyle/>
        <a:p>
          <a:endParaRPr lang="es-CL"/>
        </a:p>
      </dgm:t>
    </dgm:pt>
    <dgm:pt modelId="{E3E5F436-B00D-4158-B0AD-7AC2A4AC7FAC}" type="sibTrans" cxnId="{5865285A-1A4F-4137-A998-D90855AB1D0E}">
      <dgm:prSet/>
      <dgm:spPr/>
      <dgm:t>
        <a:bodyPr/>
        <a:lstStyle/>
        <a:p>
          <a:endParaRPr lang="es-CL"/>
        </a:p>
      </dgm:t>
    </dgm:pt>
    <dgm:pt modelId="{B426B131-B66D-4B23-A086-3801A8E5569C}">
      <dgm:prSet phldrT="[Texto]"/>
      <dgm:spPr/>
      <dgm:t>
        <a:bodyPr/>
        <a:lstStyle/>
        <a:p>
          <a:r>
            <a:rPr lang="es-MX" dirty="0"/>
            <a:t>Programación de atenciones de telemedicina en establecimientos de APS  </a:t>
          </a:r>
          <a:endParaRPr lang="es-CL" dirty="0"/>
        </a:p>
      </dgm:t>
    </dgm:pt>
    <dgm:pt modelId="{CFCF6517-4721-480D-8F42-576DF73DC7B3}" type="parTrans" cxnId="{756605B7-CBA3-4670-8D1F-9F93B5D19386}">
      <dgm:prSet/>
      <dgm:spPr/>
      <dgm:t>
        <a:bodyPr/>
        <a:lstStyle/>
        <a:p>
          <a:endParaRPr lang="es-CL"/>
        </a:p>
      </dgm:t>
    </dgm:pt>
    <dgm:pt modelId="{41B4C906-3C00-4FF1-A9B6-171BAF3CCC09}" type="sibTrans" cxnId="{756605B7-CBA3-4670-8D1F-9F93B5D19386}">
      <dgm:prSet/>
      <dgm:spPr/>
      <dgm:t>
        <a:bodyPr/>
        <a:lstStyle/>
        <a:p>
          <a:endParaRPr lang="es-CL"/>
        </a:p>
      </dgm:t>
    </dgm:pt>
    <dgm:pt modelId="{92A0B2F3-21D4-4814-8AE5-CC744F895CE7}" type="pres">
      <dgm:prSet presAssocID="{AE41646D-B4AE-45B6-AA18-855D2129422F}" presName="diagram" presStyleCnt="0">
        <dgm:presLayoutVars>
          <dgm:dir/>
          <dgm:resizeHandles val="exact"/>
        </dgm:presLayoutVars>
      </dgm:prSet>
      <dgm:spPr/>
    </dgm:pt>
    <dgm:pt modelId="{1C3F036F-8E81-41B5-95FB-E7039FC0E17F}" type="pres">
      <dgm:prSet presAssocID="{993161C5-99A7-4F8D-9988-7F81E53606F9}" presName="node" presStyleLbl="node1" presStyleIdx="0" presStyleCnt="6">
        <dgm:presLayoutVars>
          <dgm:bulletEnabled val="1"/>
        </dgm:presLayoutVars>
      </dgm:prSet>
      <dgm:spPr/>
    </dgm:pt>
    <dgm:pt modelId="{3F6DCAA5-049E-4B8A-94FA-C63F7118976A}" type="pres">
      <dgm:prSet presAssocID="{254D5E9C-2E8E-4655-B900-C1FC0EE9DDD9}" presName="sibTrans" presStyleCnt="0"/>
      <dgm:spPr/>
    </dgm:pt>
    <dgm:pt modelId="{93C692D2-5EC7-4021-BBC6-3FE9DB202EB5}" type="pres">
      <dgm:prSet presAssocID="{CBB90239-6892-4F62-8F78-B3D8BD96D323}" presName="node" presStyleLbl="node1" presStyleIdx="1" presStyleCnt="6">
        <dgm:presLayoutVars>
          <dgm:bulletEnabled val="1"/>
        </dgm:presLayoutVars>
      </dgm:prSet>
      <dgm:spPr/>
    </dgm:pt>
    <dgm:pt modelId="{3D13E309-08A4-41CA-B86C-2A71FC72426B}" type="pres">
      <dgm:prSet presAssocID="{AE8F2AB5-9F3F-41F6-A357-A3EF85E58364}" presName="sibTrans" presStyleCnt="0"/>
      <dgm:spPr/>
    </dgm:pt>
    <dgm:pt modelId="{13EDC37C-1DBA-4FFE-B129-BD33119A4F67}" type="pres">
      <dgm:prSet presAssocID="{BF152056-310C-4E3E-A82A-CEE06517734E}" presName="node" presStyleLbl="node1" presStyleIdx="2" presStyleCnt="6">
        <dgm:presLayoutVars>
          <dgm:bulletEnabled val="1"/>
        </dgm:presLayoutVars>
      </dgm:prSet>
      <dgm:spPr/>
    </dgm:pt>
    <dgm:pt modelId="{CC208BB9-9840-413B-8032-CBF508C8C3D4}" type="pres">
      <dgm:prSet presAssocID="{514D9369-1C86-4542-94E6-9D2FF650F9F5}" presName="sibTrans" presStyleCnt="0"/>
      <dgm:spPr/>
    </dgm:pt>
    <dgm:pt modelId="{3575FC16-2740-479E-B7A4-763EA8DAA155}" type="pres">
      <dgm:prSet presAssocID="{807D2CEA-4AC6-4387-838E-32433CA986D8}" presName="node" presStyleLbl="node1" presStyleIdx="3" presStyleCnt="6">
        <dgm:presLayoutVars>
          <dgm:bulletEnabled val="1"/>
        </dgm:presLayoutVars>
      </dgm:prSet>
      <dgm:spPr/>
    </dgm:pt>
    <dgm:pt modelId="{AC356EB0-7EB1-41C8-9ACC-22A8A6CCD496}" type="pres">
      <dgm:prSet presAssocID="{EE88AD69-2B31-4266-AFC7-30CA04405E0D}" presName="sibTrans" presStyleCnt="0"/>
      <dgm:spPr/>
    </dgm:pt>
    <dgm:pt modelId="{D85F8DCB-2618-4802-9321-03BB1B1FBE0F}" type="pres">
      <dgm:prSet presAssocID="{10D60644-958F-4791-B792-6BF362923296}" presName="node" presStyleLbl="node1" presStyleIdx="4" presStyleCnt="6">
        <dgm:presLayoutVars>
          <dgm:bulletEnabled val="1"/>
        </dgm:presLayoutVars>
      </dgm:prSet>
      <dgm:spPr/>
    </dgm:pt>
    <dgm:pt modelId="{3B692CA0-ADCC-4102-98EA-E72B282B1CD9}" type="pres">
      <dgm:prSet presAssocID="{E3E5F436-B00D-4158-B0AD-7AC2A4AC7FAC}" presName="sibTrans" presStyleCnt="0"/>
      <dgm:spPr/>
    </dgm:pt>
    <dgm:pt modelId="{D64654AA-5CBE-4D49-9B34-1A2ED5485EDE}" type="pres">
      <dgm:prSet presAssocID="{B426B131-B66D-4B23-A086-3801A8E5569C}" presName="node" presStyleLbl="node1" presStyleIdx="5" presStyleCnt="6">
        <dgm:presLayoutVars>
          <dgm:bulletEnabled val="1"/>
        </dgm:presLayoutVars>
      </dgm:prSet>
      <dgm:spPr/>
    </dgm:pt>
  </dgm:ptLst>
  <dgm:cxnLst>
    <dgm:cxn modelId="{B9A07C12-7179-4169-A31B-B149B48F033C}" srcId="{AE41646D-B4AE-45B6-AA18-855D2129422F}" destId="{CBB90239-6892-4F62-8F78-B3D8BD96D323}" srcOrd="1" destOrd="0" parTransId="{E84BE1AC-D8F7-4892-A859-532ACDC0FC2B}" sibTransId="{AE8F2AB5-9F3F-41F6-A357-A3EF85E58364}"/>
    <dgm:cxn modelId="{8307B828-3C6F-4EB7-A64A-02819DB87CD6}" srcId="{AE41646D-B4AE-45B6-AA18-855D2129422F}" destId="{993161C5-99A7-4F8D-9988-7F81E53606F9}" srcOrd="0" destOrd="0" parTransId="{47C681DC-803A-4D27-B68F-8D0694DFC370}" sibTransId="{254D5E9C-2E8E-4655-B900-C1FC0EE9DDD9}"/>
    <dgm:cxn modelId="{1AABBC29-14AA-4731-96F7-66D9BE6D6821}" srcId="{AE41646D-B4AE-45B6-AA18-855D2129422F}" destId="{807D2CEA-4AC6-4387-838E-32433CA986D8}" srcOrd="3" destOrd="0" parTransId="{626AAD89-8D1F-4180-A81C-2DEDF8463D53}" sibTransId="{EE88AD69-2B31-4266-AFC7-30CA04405E0D}"/>
    <dgm:cxn modelId="{9651C82E-452C-4AE1-B9C1-9DA910855B7B}" type="presOf" srcId="{807D2CEA-4AC6-4387-838E-32433CA986D8}" destId="{3575FC16-2740-479E-B7A4-763EA8DAA155}" srcOrd="0" destOrd="0" presId="urn:microsoft.com/office/officeart/2005/8/layout/default"/>
    <dgm:cxn modelId="{5E17FF3D-DD39-4EF5-AEDC-EA26E138F651}" type="presOf" srcId="{10D60644-958F-4791-B792-6BF362923296}" destId="{D85F8DCB-2618-4802-9321-03BB1B1FBE0F}" srcOrd="0" destOrd="0" presId="urn:microsoft.com/office/officeart/2005/8/layout/default"/>
    <dgm:cxn modelId="{2AFF6C40-C325-4F9C-BA79-38A5715710BF}" type="presOf" srcId="{CBB90239-6892-4F62-8F78-B3D8BD96D323}" destId="{93C692D2-5EC7-4021-BBC6-3FE9DB202EB5}" srcOrd="0" destOrd="0" presId="urn:microsoft.com/office/officeart/2005/8/layout/default"/>
    <dgm:cxn modelId="{B1AEB041-2481-4065-80E5-8BB339FBD4E2}" type="presOf" srcId="{B426B131-B66D-4B23-A086-3801A8E5569C}" destId="{D64654AA-5CBE-4D49-9B34-1A2ED5485EDE}" srcOrd="0" destOrd="0" presId="urn:microsoft.com/office/officeart/2005/8/layout/default"/>
    <dgm:cxn modelId="{412D254A-7492-456B-822A-62E8687A95BC}" srcId="{AE41646D-B4AE-45B6-AA18-855D2129422F}" destId="{BF152056-310C-4E3E-A82A-CEE06517734E}" srcOrd="2" destOrd="0" parTransId="{1BA930FF-1F20-40E1-BC34-6CE41D18EF33}" sibTransId="{514D9369-1C86-4542-94E6-9D2FF650F9F5}"/>
    <dgm:cxn modelId="{9453414C-3DDF-4769-BF22-B6024455ED7A}" type="presOf" srcId="{AE41646D-B4AE-45B6-AA18-855D2129422F}" destId="{92A0B2F3-21D4-4814-8AE5-CC744F895CE7}" srcOrd="0" destOrd="0" presId="urn:microsoft.com/office/officeart/2005/8/layout/default"/>
    <dgm:cxn modelId="{30344674-84B8-4B76-8A4A-745CDBBAC98D}" type="presOf" srcId="{BF152056-310C-4E3E-A82A-CEE06517734E}" destId="{13EDC37C-1DBA-4FFE-B129-BD33119A4F67}" srcOrd="0" destOrd="0" presId="urn:microsoft.com/office/officeart/2005/8/layout/default"/>
    <dgm:cxn modelId="{5865285A-1A4F-4137-A998-D90855AB1D0E}" srcId="{AE41646D-B4AE-45B6-AA18-855D2129422F}" destId="{10D60644-958F-4791-B792-6BF362923296}" srcOrd="4" destOrd="0" parTransId="{007EE2B4-C599-403E-9072-3192E13927FF}" sibTransId="{E3E5F436-B00D-4158-B0AD-7AC2A4AC7FAC}"/>
    <dgm:cxn modelId="{756605B7-CBA3-4670-8D1F-9F93B5D19386}" srcId="{AE41646D-B4AE-45B6-AA18-855D2129422F}" destId="{B426B131-B66D-4B23-A086-3801A8E5569C}" srcOrd="5" destOrd="0" parTransId="{CFCF6517-4721-480D-8F42-576DF73DC7B3}" sibTransId="{41B4C906-3C00-4FF1-A9B6-171BAF3CCC09}"/>
    <dgm:cxn modelId="{DF3A52CF-1563-4400-9E27-E8E84118A468}" type="presOf" srcId="{993161C5-99A7-4F8D-9988-7F81E53606F9}" destId="{1C3F036F-8E81-41B5-95FB-E7039FC0E17F}" srcOrd="0" destOrd="0" presId="urn:microsoft.com/office/officeart/2005/8/layout/default"/>
    <dgm:cxn modelId="{1470F8DD-011F-48A4-8E4A-1E8AB39E753F}" type="presParOf" srcId="{92A0B2F3-21D4-4814-8AE5-CC744F895CE7}" destId="{1C3F036F-8E81-41B5-95FB-E7039FC0E17F}" srcOrd="0" destOrd="0" presId="urn:microsoft.com/office/officeart/2005/8/layout/default"/>
    <dgm:cxn modelId="{98FE9243-777A-450E-852A-A0708E82FB32}" type="presParOf" srcId="{92A0B2F3-21D4-4814-8AE5-CC744F895CE7}" destId="{3F6DCAA5-049E-4B8A-94FA-C63F7118976A}" srcOrd="1" destOrd="0" presId="urn:microsoft.com/office/officeart/2005/8/layout/default"/>
    <dgm:cxn modelId="{B7254090-2EC7-4200-B9F0-515B061A96D4}" type="presParOf" srcId="{92A0B2F3-21D4-4814-8AE5-CC744F895CE7}" destId="{93C692D2-5EC7-4021-BBC6-3FE9DB202EB5}" srcOrd="2" destOrd="0" presId="urn:microsoft.com/office/officeart/2005/8/layout/default"/>
    <dgm:cxn modelId="{B09768E1-EC5A-45D6-890A-DFFEF232FADF}" type="presParOf" srcId="{92A0B2F3-21D4-4814-8AE5-CC744F895CE7}" destId="{3D13E309-08A4-41CA-B86C-2A71FC72426B}" srcOrd="3" destOrd="0" presId="urn:microsoft.com/office/officeart/2005/8/layout/default"/>
    <dgm:cxn modelId="{016C9147-00CF-4B76-827F-57541B1FCD25}" type="presParOf" srcId="{92A0B2F3-21D4-4814-8AE5-CC744F895CE7}" destId="{13EDC37C-1DBA-4FFE-B129-BD33119A4F67}" srcOrd="4" destOrd="0" presId="urn:microsoft.com/office/officeart/2005/8/layout/default"/>
    <dgm:cxn modelId="{A2C19049-3D9C-48F4-AFEC-14C5040B7405}" type="presParOf" srcId="{92A0B2F3-21D4-4814-8AE5-CC744F895CE7}" destId="{CC208BB9-9840-413B-8032-CBF508C8C3D4}" srcOrd="5" destOrd="0" presId="urn:microsoft.com/office/officeart/2005/8/layout/default"/>
    <dgm:cxn modelId="{3BD759C5-2B23-4DAB-838A-48B1517249C2}" type="presParOf" srcId="{92A0B2F3-21D4-4814-8AE5-CC744F895CE7}" destId="{3575FC16-2740-479E-B7A4-763EA8DAA155}" srcOrd="6" destOrd="0" presId="urn:microsoft.com/office/officeart/2005/8/layout/default"/>
    <dgm:cxn modelId="{60FE295D-6D75-4BD3-96B1-C8A1CE7415F5}" type="presParOf" srcId="{92A0B2F3-21D4-4814-8AE5-CC744F895CE7}" destId="{AC356EB0-7EB1-41C8-9ACC-22A8A6CCD496}" srcOrd="7" destOrd="0" presId="urn:microsoft.com/office/officeart/2005/8/layout/default"/>
    <dgm:cxn modelId="{FDADDFC0-9974-444A-A9BB-422EBC9869F6}" type="presParOf" srcId="{92A0B2F3-21D4-4814-8AE5-CC744F895CE7}" destId="{D85F8DCB-2618-4802-9321-03BB1B1FBE0F}" srcOrd="8" destOrd="0" presId="urn:microsoft.com/office/officeart/2005/8/layout/default"/>
    <dgm:cxn modelId="{E0E2719A-DC7A-4291-B836-2AD9284FA291}" type="presParOf" srcId="{92A0B2F3-21D4-4814-8AE5-CC744F895CE7}" destId="{3B692CA0-ADCC-4102-98EA-E72B282B1CD9}" srcOrd="9" destOrd="0" presId="urn:microsoft.com/office/officeart/2005/8/layout/default"/>
    <dgm:cxn modelId="{7BBE9353-E193-4D21-B7BC-8C32047F12BF}" type="presParOf" srcId="{92A0B2F3-21D4-4814-8AE5-CC744F895CE7}" destId="{D64654AA-5CBE-4D49-9B34-1A2ED5485EDE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EE1DB7D-F642-4449-BC01-15084B67817E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98D48B82-33BF-42ED-84C9-78B4DD4A087E}">
      <dgm:prSet phldrT="[Texto]"/>
      <dgm:spPr/>
      <dgm:t>
        <a:bodyPr/>
        <a:lstStyle/>
        <a:p>
          <a:r>
            <a:rPr lang="es-MX" b="1" dirty="0"/>
            <a:t>Ley 21.541 (2023)</a:t>
          </a:r>
          <a:endParaRPr lang="es-CL" dirty="0"/>
        </a:p>
      </dgm:t>
    </dgm:pt>
    <dgm:pt modelId="{14DF090B-BA37-4982-BCFD-38B1213D624D}" type="parTrans" cxnId="{62274BAF-2393-4338-BFE6-D7934302F972}">
      <dgm:prSet/>
      <dgm:spPr/>
      <dgm:t>
        <a:bodyPr/>
        <a:lstStyle/>
        <a:p>
          <a:endParaRPr lang="es-CL"/>
        </a:p>
      </dgm:t>
    </dgm:pt>
    <dgm:pt modelId="{E70A51DE-234B-4031-84D2-C7DB1B41114A}" type="sibTrans" cxnId="{62274BAF-2393-4338-BFE6-D7934302F972}">
      <dgm:prSet/>
      <dgm:spPr/>
      <dgm:t>
        <a:bodyPr/>
        <a:lstStyle/>
        <a:p>
          <a:endParaRPr lang="es-CL"/>
        </a:p>
      </dgm:t>
    </dgm:pt>
    <dgm:pt modelId="{CCFA3768-D4C2-4CC3-990D-E93F599E9DCE}">
      <dgm:prSet/>
      <dgm:spPr/>
      <dgm:t>
        <a:bodyPr/>
        <a:lstStyle/>
        <a:p>
          <a:r>
            <a:rPr lang="es-MX" b="1" dirty="0"/>
            <a:t>Norma Técnica N° 237 (</a:t>
          </a:r>
          <a:r>
            <a:rPr lang="es-MX" b="1" dirty="0" err="1"/>
            <a:t>Minsal</a:t>
          </a:r>
          <a:r>
            <a:rPr lang="es-MX" b="1" dirty="0"/>
            <a:t>, 2025)</a:t>
          </a:r>
          <a:endParaRPr lang="es-MX" dirty="0"/>
        </a:p>
      </dgm:t>
    </dgm:pt>
    <dgm:pt modelId="{423C7738-2BFE-496D-B58F-92DC1FFEF982}" type="parTrans" cxnId="{682DDA2E-8CF9-49AF-9861-C75785A2EAFA}">
      <dgm:prSet/>
      <dgm:spPr/>
      <dgm:t>
        <a:bodyPr/>
        <a:lstStyle/>
        <a:p>
          <a:endParaRPr lang="es-CL"/>
        </a:p>
      </dgm:t>
    </dgm:pt>
    <dgm:pt modelId="{11C3576F-9271-400C-BF1F-9FFEB5ED523C}" type="sibTrans" cxnId="{682DDA2E-8CF9-49AF-9861-C75785A2EAFA}">
      <dgm:prSet/>
      <dgm:spPr/>
      <dgm:t>
        <a:bodyPr/>
        <a:lstStyle/>
        <a:p>
          <a:endParaRPr lang="es-CL"/>
        </a:p>
      </dgm:t>
    </dgm:pt>
    <dgm:pt modelId="{FD7A97CF-DD68-4382-A29E-51F82B901C39}">
      <dgm:prSet/>
      <dgm:spPr/>
      <dgm:t>
        <a:bodyPr/>
        <a:lstStyle/>
        <a:p>
          <a:r>
            <a:rPr lang="es-MX" b="1" dirty="0"/>
            <a:t>Ley 21.746 (2025):</a:t>
          </a:r>
          <a:endParaRPr lang="es-MX" dirty="0"/>
        </a:p>
      </dgm:t>
    </dgm:pt>
    <dgm:pt modelId="{EF8DD245-1871-4C44-A30A-E04D4A07080B}" type="parTrans" cxnId="{5A5FA5AA-19CB-4DBF-887D-A6EC54634A60}">
      <dgm:prSet/>
      <dgm:spPr/>
      <dgm:t>
        <a:bodyPr/>
        <a:lstStyle/>
        <a:p>
          <a:endParaRPr lang="es-CL"/>
        </a:p>
      </dgm:t>
    </dgm:pt>
    <dgm:pt modelId="{9FA8F365-3346-4D81-BAEF-31236085B1A7}" type="sibTrans" cxnId="{5A5FA5AA-19CB-4DBF-887D-A6EC54634A60}">
      <dgm:prSet/>
      <dgm:spPr/>
      <dgm:t>
        <a:bodyPr/>
        <a:lstStyle/>
        <a:p>
          <a:endParaRPr lang="es-CL"/>
        </a:p>
      </dgm:t>
    </dgm:pt>
    <dgm:pt modelId="{B5384FA7-6C64-4CAA-B3CE-33A39009ED39}">
      <dgm:prSet/>
      <dgm:spPr/>
      <dgm:t>
        <a:bodyPr/>
        <a:lstStyle/>
        <a:p>
          <a:r>
            <a:rPr lang="es-MX" b="1" dirty="0"/>
            <a:t>Norma Chilena 3858 (2024):</a:t>
          </a:r>
          <a:endParaRPr lang="es-MX" dirty="0"/>
        </a:p>
      </dgm:t>
    </dgm:pt>
    <dgm:pt modelId="{5D8BB88F-4D58-482B-AAEA-A5895B452089}" type="parTrans" cxnId="{F73DC3E2-0D5F-41EE-A17D-C0519BB11A52}">
      <dgm:prSet/>
      <dgm:spPr/>
      <dgm:t>
        <a:bodyPr/>
        <a:lstStyle/>
        <a:p>
          <a:endParaRPr lang="es-CL"/>
        </a:p>
      </dgm:t>
    </dgm:pt>
    <dgm:pt modelId="{236D8095-DD87-49AF-8ACD-0C0C38D59957}" type="sibTrans" cxnId="{F73DC3E2-0D5F-41EE-A17D-C0519BB11A52}">
      <dgm:prSet/>
      <dgm:spPr/>
      <dgm:t>
        <a:bodyPr/>
        <a:lstStyle/>
        <a:p>
          <a:endParaRPr lang="es-CL"/>
        </a:p>
      </dgm:t>
    </dgm:pt>
    <dgm:pt modelId="{856EFAC5-4D7E-4594-B7B1-C25417A4D4C1}">
      <dgm:prSet/>
      <dgm:spPr/>
      <dgm:t>
        <a:bodyPr/>
        <a:lstStyle/>
        <a:p>
          <a:r>
            <a:rPr lang="es-MX" b="1" dirty="0"/>
            <a:t>Circular 462 (2024):</a:t>
          </a:r>
          <a:endParaRPr lang="es-MX" dirty="0"/>
        </a:p>
      </dgm:t>
    </dgm:pt>
    <dgm:pt modelId="{755FD1BC-EAC0-4AB6-8A89-08569954E3BB}" type="parTrans" cxnId="{A9618F52-ED9E-4DFE-8740-5C4BA2B207DA}">
      <dgm:prSet/>
      <dgm:spPr/>
      <dgm:t>
        <a:bodyPr/>
        <a:lstStyle/>
        <a:p>
          <a:endParaRPr lang="es-CL"/>
        </a:p>
      </dgm:t>
    </dgm:pt>
    <dgm:pt modelId="{83F622AC-9884-4EFD-A31D-F9B05C641F90}" type="sibTrans" cxnId="{A9618F52-ED9E-4DFE-8740-5C4BA2B207DA}">
      <dgm:prSet/>
      <dgm:spPr/>
      <dgm:t>
        <a:bodyPr/>
        <a:lstStyle/>
        <a:p>
          <a:endParaRPr lang="es-CL"/>
        </a:p>
      </dgm:t>
    </dgm:pt>
    <dgm:pt modelId="{2BD675C8-0E30-48C0-8FA2-130B65D96C4D}">
      <dgm:prSet phldrT="[Texto]"/>
      <dgm:spPr/>
      <dgm:t>
        <a:bodyPr/>
        <a:lstStyle/>
        <a:p>
          <a:r>
            <a:rPr lang="es-MX"/>
            <a:t> autoriza telemedicina y modifica Ley 20.584 (derechos de pacientes).</a:t>
          </a:r>
          <a:endParaRPr lang="es-CL" dirty="0"/>
        </a:p>
      </dgm:t>
    </dgm:pt>
    <dgm:pt modelId="{F166ACFB-B76F-41FF-A743-A849929A871B}" type="parTrans" cxnId="{37016872-7D7B-4A44-92D7-168063F73AF9}">
      <dgm:prSet/>
      <dgm:spPr/>
      <dgm:t>
        <a:bodyPr/>
        <a:lstStyle/>
        <a:p>
          <a:endParaRPr lang="es-CL"/>
        </a:p>
      </dgm:t>
    </dgm:pt>
    <dgm:pt modelId="{1F68FBED-8B3D-43F1-AC04-51A305B7841A}" type="sibTrans" cxnId="{37016872-7D7B-4A44-92D7-168063F73AF9}">
      <dgm:prSet/>
      <dgm:spPr/>
      <dgm:t>
        <a:bodyPr/>
        <a:lstStyle/>
        <a:p>
          <a:endParaRPr lang="es-CL"/>
        </a:p>
      </dgm:t>
    </dgm:pt>
    <dgm:pt modelId="{E995BC82-BB11-4F90-B9D6-547D430C72B4}">
      <dgm:prSet/>
      <dgm:spPr/>
      <dgm:t>
        <a:bodyPr/>
        <a:lstStyle/>
        <a:p>
          <a:r>
            <a:rPr lang="es-MX"/>
            <a:t>requisitos </a:t>
          </a:r>
          <a:r>
            <a:rPr lang="es-MX" dirty="0"/>
            <a:t>técnicos y de seguridad en atenciones digitales.</a:t>
          </a:r>
        </a:p>
      </dgm:t>
    </dgm:pt>
    <dgm:pt modelId="{72A2C2FB-5745-4649-A4AA-0EFABB8197D4}" type="parTrans" cxnId="{D30A71BB-37D1-4D3D-BA0E-F6272958DDB0}">
      <dgm:prSet/>
      <dgm:spPr/>
      <dgm:t>
        <a:bodyPr/>
        <a:lstStyle/>
        <a:p>
          <a:endParaRPr lang="es-CL"/>
        </a:p>
      </dgm:t>
    </dgm:pt>
    <dgm:pt modelId="{141C541A-CA9C-4FCD-81C2-F332CDFCE33F}" type="sibTrans" cxnId="{D30A71BB-37D1-4D3D-BA0E-F6272958DDB0}">
      <dgm:prSet/>
      <dgm:spPr/>
      <dgm:t>
        <a:bodyPr/>
        <a:lstStyle/>
        <a:p>
          <a:endParaRPr lang="es-CL"/>
        </a:p>
      </dgm:t>
    </dgm:pt>
    <dgm:pt modelId="{B48F0AF5-389C-4AC0-AD56-6B987675F638}">
      <dgm:prSet/>
      <dgm:spPr/>
      <dgm:t>
        <a:bodyPr/>
        <a:lstStyle/>
        <a:p>
          <a:r>
            <a:rPr lang="es-MX"/>
            <a:t>regula </a:t>
          </a:r>
          <a:r>
            <a:rPr lang="es-MX" dirty="0"/>
            <a:t>emisión de licencias médicas electrónicas.</a:t>
          </a:r>
        </a:p>
      </dgm:t>
    </dgm:pt>
    <dgm:pt modelId="{CB9F5C49-671E-477B-A4FB-207E2A9A7D03}" type="parTrans" cxnId="{AFF4929D-C214-40F7-A275-4947FE077DB9}">
      <dgm:prSet/>
      <dgm:spPr/>
      <dgm:t>
        <a:bodyPr/>
        <a:lstStyle/>
        <a:p>
          <a:endParaRPr lang="es-CL"/>
        </a:p>
      </dgm:t>
    </dgm:pt>
    <dgm:pt modelId="{B0B6EED1-B31D-4EDD-878A-32B33A1AE832}" type="sibTrans" cxnId="{AFF4929D-C214-40F7-A275-4947FE077DB9}">
      <dgm:prSet/>
      <dgm:spPr/>
      <dgm:t>
        <a:bodyPr/>
        <a:lstStyle/>
        <a:p>
          <a:endParaRPr lang="es-CL"/>
        </a:p>
      </dgm:t>
    </dgm:pt>
    <dgm:pt modelId="{09BF4138-9B8D-47A4-99D4-834DD7D41A0E}">
      <dgm:prSet/>
      <dgm:spPr/>
      <dgm:t>
        <a:bodyPr/>
        <a:lstStyle/>
        <a:p>
          <a:r>
            <a:rPr lang="es-MX"/>
            <a:t>estándar </a:t>
          </a:r>
          <a:r>
            <a:rPr lang="es-MX" dirty="0"/>
            <a:t>de calidad en telemedicina y </a:t>
          </a:r>
          <a:r>
            <a:rPr lang="es-MX" dirty="0" err="1"/>
            <a:t>telesalud</a:t>
          </a:r>
          <a:r>
            <a:rPr lang="es-MX" dirty="0"/>
            <a:t>.</a:t>
          </a:r>
        </a:p>
      </dgm:t>
    </dgm:pt>
    <dgm:pt modelId="{88795A4A-6A02-45B1-B9EE-37FB9D95FF13}" type="parTrans" cxnId="{FE68E991-F05E-4373-A742-186C4F0ADCCE}">
      <dgm:prSet/>
      <dgm:spPr/>
      <dgm:t>
        <a:bodyPr/>
        <a:lstStyle/>
        <a:p>
          <a:endParaRPr lang="es-CL"/>
        </a:p>
      </dgm:t>
    </dgm:pt>
    <dgm:pt modelId="{64B09B0B-0888-468D-B9BA-3F29859B2452}" type="sibTrans" cxnId="{FE68E991-F05E-4373-A742-186C4F0ADCCE}">
      <dgm:prSet/>
      <dgm:spPr/>
      <dgm:t>
        <a:bodyPr/>
        <a:lstStyle/>
        <a:p>
          <a:endParaRPr lang="es-CL"/>
        </a:p>
      </dgm:t>
    </dgm:pt>
    <dgm:pt modelId="{790EB9D0-59BB-494C-97E1-E8784306E6EA}">
      <dgm:prSet/>
      <dgm:spPr/>
      <dgm:t>
        <a:bodyPr/>
        <a:lstStyle/>
        <a:p>
          <a:r>
            <a:rPr lang="es-MX"/>
            <a:t>telemedicina </a:t>
          </a:r>
          <a:r>
            <a:rPr lang="es-MX" dirty="0"/>
            <a:t>debe ser optativa, requiere consentimiento del paciente.</a:t>
          </a:r>
        </a:p>
      </dgm:t>
    </dgm:pt>
    <dgm:pt modelId="{17290C0C-A107-49BD-950B-F2086C6CE3D2}" type="parTrans" cxnId="{A46E9B58-56E3-4C08-9A90-B4B5295F8E2C}">
      <dgm:prSet/>
      <dgm:spPr/>
      <dgm:t>
        <a:bodyPr/>
        <a:lstStyle/>
        <a:p>
          <a:endParaRPr lang="es-CL"/>
        </a:p>
      </dgm:t>
    </dgm:pt>
    <dgm:pt modelId="{E211079F-F74C-4107-82E2-AEB132C315FD}" type="sibTrans" cxnId="{A46E9B58-56E3-4C08-9A90-B4B5295F8E2C}">
      <dgm:prSet/>
      <dgm:spPr/>
      <dgm:t>
        <a:bodyPr/>
        <a:lstStyle/>
        <a:p>
          <a:endParaRPr lang="es-CL"/>
        </a:p>
      </dgm:t>
    </dgm:pt>
    <dgm:pt modelId="{F16A1BC5-9EDF-4795-B401-AE4D9E9F5EA6}" type="pres">
      <dgm:prSet presAssocID="{DEE1DB7D-F642-4449-BC01-15084B67817E}" presName="Name0" presStyleCnt="0">
        <dgm:presLayoutVars>
          <dgm:dir/>
          <dgm:animLvl val="lvl"/>
          <dgm:resizeHandles val="exact"/>
        </dgm:presLayoutVars>
      </dgm:prSet>
      <dgm:spPr/>
    </dgm:pt>
    <dgm:pt modelId="{6FB8D288-9306-4017-90C6-AF31C6C6DD2E}" type="pres">
      <dgm:prSet presAssocID="{98D48B82-33BF-42ED-84C9-78B4DD4A087E}" presName="composite" presStyleCnt="0"/>
      <dgm:spPr/>
    </dgm:pt>
    <dgm:pt modelId="{ED8ABFA6-4BF0-483D-94F8-C5B0E720016E}" type="pres">
      <dgm:prSet presAssocID="{98D48B82-33BF-42ED-84C9-78B4DD4A087E}" presName="parTx" presStyleLbl="alignNode1" presStyleIdx="0" presStyleCnt="5">
        <dgm:presLayoutVars>
          <dgm:chMax val="0"/>
          <dgm:chPref val="0"/>
          <dgm:bulletEnabled val="1"/>
        </dgm:presLayoutVars>
      </dgm:prSet>
      <dgm:spPr/>
    </dgm:pt>
    <dgm:pt modelId="{181E8A6B-D22C-4CD5-9B1F-384686B85ABF}" type="pres">
      <dgm:prSet presAssocID="{98D48B82-33BF-42ED-84C9-78B4DD4A087E}" presName="desTx" presStyleLbl="alignAccFollowNode1" presStyleIdx="0" presStyleCnt="5">
        <dgm:presLayoutVars>
          <dgm:bulletEnabled val="1"/>
        </dgm:presLayoutVars>
      </dgm:prSet>
      <dgm:spPr/>
    </dgm:pt>
    <dgm:pt modelId="{B555E8A9-B84B-4880-A4DA-18D5D6921647}" type="pres">
      <dgm:prSet presAssocID="{E70A51DE-234B-4031-84D2-C7DB1B41114A}" presName="space" presStyleCnt="0"/>
      <dgm:spPr/>
    </dgm:pt>
    <dgm:pt modelId="{A75DF106-E6DB-4457-9B77-C7BCECABABB4}" type="pres">
      <dgm:prSet presAssocID="{CCFA3768-D4C2-4CC3-990D-E93F599E9DCE}" presName="composite" presStyleCnt="0"/>
      <dgm:spPr/>
    </dgm:pt>
    <dgm:pt modelId="{B63C1DEA-4C43-4186-86E3-EDFBFBC0289D}" type="pres">
      <dgm:prSet presAssocID="{CCFA3768-D4C2-4CC3-990D-E93F599E9DCE}" presName="parTx" presStyleLbl="alignNode1" presStyleIdx="1" presStyleCnt="5">
        <dgm:presLayoutVars>
          <dgm:chMax val="0"/>
          <dgm:chPref val="0"/>
          <dgm:bulletEnabled val="1"/>
        </dgm:presLayoutVars>
      </dgm:prSet>
      <dgm:spPr/>
    </dgm:pt>
    <dgm:pt modelId="{8DFAE5C8-A2F0-40AD-B5F3-90BF77EA0FF2}" type="pres">
      <dgm:prSet presAssocID="{CCFA3768-D4C2-4CC3-990D-E93F599E9DCE}" presName="desTx" presStyleLbl="alignAccFollowNode1" presStyleIdx="1" presStyleCnt="5">
        <dgm:presLayoutVars>
          <dgm:bulletEnabled val="1"/>
        </dgm:presLayoutVars>
      </dgm:prSet>
      <dgm:spPr/>
    </dgm:pt>
    <dgm:pt modelId="{7F4A9149-F460-4A7A-9C26-5F9C71D06311}" type="pres">
      <dgm:prSet presAssocID="{11C3576F-9271-400C-BF1F-9FFEB5ED523C}" presName="space" presStyleCnt="0"/>
      <dgm:spPr/>
    </dgm:pt>
    <dgm:pt modelId="{7260300E-1D66-40EB-B139-4EED4A9AAC62}" type="pres">
      <dgm:prSet presAssocID="{FD7A97CF-DD68-4382-A29E-51F82B901C39}" presName="composite" presStyleCnt="0"/>
      <dgm:spPr/>
    </dgm:pt>
    <dgm:pt modelId="{F2052176-CC16-4275-975A-6A2071D8F106}" type="pres">
      <dgm:prSet presAssocID="{FD7A97CF-DD68-4382-A29E-51F82B901C39}" presName="parTx" presStyleLbl="alignNode1" presStyleIdx="2" presStyleCnt="5">
        <dgm:presLayoutVars>
          <dgm:chMax val="0"/>
          <dgm:chPref val="0"/>
          <dgm:bulletEnabled val="1"/>
        </dgm:presLayoutVars>
      </dgm:prSet>
      <dgm:spPr/>
    </dgm:pt>
    <dgm:pt modelId="{49900775-D486-4976-ABC7-84F7F8D5F7EA}" type="pres">
      <dgm:prSet presAssocID="{FD7A97CF-DD68-4382-A29E-51F82B901C39}" presName="desTx" presStyleLbl="alignAccFollowNode1" presStyleIdx="2" presStyleCnt="5">
        <dgm:presLayoutVars>
          <dgm:bulletEnabled val="1"/>
        </dgm:presLayoutVars>
      </dgm:prSet>
      <dgm:spPr/>
    </dgm:pt>
    <dgm:pt modelId="{A5D7F782-149B-479C-AEC8-54445592E9CC}" type="pres">
      <dgm:prSet presAssocID="{9FA8F365-3346-4D81-BAEF-31236085B1A7}" presName="space" presStyleCnt="0"/>
      <dgm:spPr/>
    </dgm:pt>
    <dgm:pt modelId="{57B290DC-AEC0-48E2-86E7-C59CCE65C3A5}" type="pres">
      <dgm:prSet presAssocID="{B5384FA7-6C64-4CAA-B3CE-33A39009ED39}" presName="composite" presStyleCnt="0"/>
      <dgm:spPr/>
    </dgm:pt>
    <dgm:pt modelId="{B71A819A-B9F1-4195-B0D4-0C88CB5F7837}" type="pres">
      <dgm:prSet presAssocID="{B5384FA7-6C64-4CAA-B3CE-33A39009ED39}" presName="parTx" presStyleLbl="alignNode1" presStyleIdx="3" presStyleCnt="5">
        <dgm:presLayoutVars>
          <dgm:chMax val="0"/>
          <dgm:chPref val="0"/>
          <dgm:bulletEnabled val="1"/>
        </dgm:presLayoutVars>
      </dgm:prSet>
      <dgm:spPr/>
    </dgm:pt>
    <dgm:pt modelId="{6F29F63E-1114-48A4-BAA9-EB626EC460CD}" type="pres">
      <dgm:prSet presAssocID="{B5384FA7-6C64-4CAA-B3CE-33A39009ED39}" presName="desTx" presStyleLbl="alignAccFollowNode1" presStyleIdx="3" presStyleCnt="5">
        <dgm:presLayoutVars>
          <dgm:bulletEnabled val="1"/>
        </dgm:presLayoutVars>
      </dgm:prSet>
      <dgm:spPr/>
    </dgm:pt>
    <dgm:pt modelId="{CF1EA8D2-F6A9-46C4-B9A2-AE0A10778F02}" type="pres">
      <dgm:prSet presAssocID="{236D8095-DD87-49AF-8ACD-0C0C38D59957}" presName="space" presStyleCnt="0"/>
      <dgm:spPr/>
    </dgm:pt>
    <dgm:pt modelId="{C880EAFD-8788-401D-907C-22F24A5BF402}" type="pres">
      <dgm:prSet presAssocID="{856EFAC5-4D7E-4594-B7B1-C25417A4D4C1}" presName="composite" presStyleCnt="0"/>
      <dgm:spPr/>
    </dgm:pt>
    <dgm:pt modelId="{4696EE89-F3CD-4FE7-BE46-FE270F9AEA66}" type="pres">
      <dgm:prSet presAssocID="{856EFAC5-4D7E-4594-B7B1-C25417A4D4C1}" presName="parTx" presStyleLbl="alignNode1" presStyleIdx="4" presStyleCnt="5">
        <dgm:presLayoutVars>
          <dgm:chMax val="0"/>
          <dgm:chPref val="0"/>
          <dgm:bulletEnabled val="1"/>
        </dgm:presLayoutVars>
      </dgm:prSet>
      <dgm:spPr/>
    </dgm:pt>
    <dgm:pt modelId="{801C869C-1A09-4BF5-AE98-74CC50962E65}" type="pres">
      <dgm:prSet presAssocID="{856EFAC5-4D7E-4594-B7B1-C25417A4D4C1}" presName="desTx" presStyleLbl="alignAccFollowNode1" presStyleIdx="4" presStyleCnt="5">
        <dgm:presLayoutVars>
          <dgm:bulletEnabled val="1"/>
        </dgm:presLayoutVars>
      </dgm:prSet>
      <dgm:spPr/>
    </dgm:pt>
  </dgm:ptLst>
  <dgm:cxnLst>
    <dgm:cxn modelId="{48835F02-2AA5-4887-A431-124FAFAA9799}" type="presOf" srcId="{CCFA3768-D4C2-4CC3-990D-E93F599E9DCE}" destId="{B63C1DEA-4C43-4186-86E3-EDFBFBC0289D}" srcOrd="0" destOrd="0" presId="urn:microsoft.com/office/officeart/2005/8/layout/hList1"/>
    <dgm:cxn modelId="{D5613206-A8AA-4BF1-BE62-985C8F629761}" type="presOf" srcId="{B48F0AF5-389C-4AC0-AD56-6B987675F638}" destId="{49900775-D486-4976-ABC7-84F7F8D5F7EA}" srcOrd="0" destOrd="0" presId="urn:microsoft.com/office/officeart/2005/8/layout/hList1"/>
    <dgm:cxn modelId="{682DDA2E-8CF9-49AF-9861-C75785A2EAFA}" srcId="{DEE1DB7D-F642-4449-BC01-15084B67817E}" destId="{CCFA3768-D4C2-4CC3-990D-E93F599E9DCE}" srcOrd="1" destOrd="0" parTransId="{423C7738-2BFE-496D-B58F-92DC1FFEF982}" sibTransId="{11C3576F-9271-400C-BF1F-9FFEB5ED523C}"/>
    <dgm:cxn modelId="{A176583C-D33A-400C-8B09-D0BE98CE4BEB}" type="presOf" srcId="{E995BC82-BB11-4F90-B9D6-547D430C72B4}" destId="{8DFAE5C8-A2F0-40AD-B5F3-90BF77EA0FF2}" srcOrd="0" destOrd="0" presId="urn:microsoft.com/office/officeart/2005/8/layout/hList1"/>
    <dgm:cxn modelId="{E62D0965-6125-4130-B71D-ED3FD7715DE0}" type="presOf" srcId="{2BD675C8-0E30-48C0-8FA2-130B65D96C4D}" destId="{181E8A6B-D22C-4CD5-9B1F-384686B85ABF}" srcOrd="0" destOrd="0" presId="urn:microsoft.com/office/officeart/2005/8/layout/hList1"/>
    <dgm:cxn modelId="{E7C81770-E502-4CA0-AE13-A21F31273B1F}" type="presOf" srcId="{FD7A97CF-DD68-4382-A29E-51F82B901C39}" destId="{F2052176-CC16-4275-975A-6A2071D8F106}" srcOrd="0" destOrd="0" presId="urn:microsoft.com/office/officeart/2005/8/layout/hList1"/>
    <dgm:cxn modelId="{D067EA71-46D4-451B-8425-FC5D49E785DF}" type="presOf" srcId="{DEE1DB7D-F642-4449-BC01-15084B67817E}" destId="{F16A1BC5-9EDF-4795-B401-AE4D9E9F5EA6}" srcOrd="0" destOrd="0" presId="urn:microsoft.com/office/officeart/2005/8/layout/hList1"/>
    <dgm:cxn modelId="{37016872-7D7B-4A44-92D7-168063F73AF9}" srcId="{98D48B82-33BF-42ED-84C9-78B4DD4A087E}" destId="{2BD675C8-0E30-48C0-8FA2-130B65D96C4D}" srcOrd="0" destOrd="0" parTransId="{F166ACFB-B76F-41FF-A743-A849929A871B}" sibTransId="{1F68FBED-8B3D-43F1-AC04-51A305B7841A}"/>
    <dgm:cxn modelId="{A9618F52-ED9E-4DFE-8740-5C4BA2B207DA}" srcId="{DEE1DB7D-F642-4449-BC01-15084B67817E}" destId="{856EFAC5-4D7E-4594-B7B1-C25417A4D4C1}" srcOrd="4" destOrd="0" parTransId="{755FD1BC-EAC0-4AB6-8A89-08569954E3BB}" sibTransId="{83F622AC-9884-4EFD-A31D-F9B05C641F90}"/>
    <dgm:cxn modelId="{A46E9B58-56E3-4C08-9A90-B4B5295F8E2C}" srcId="{856EFAC5-4D7E-4594-B7B1-C25417A4D4C1}" destId="{790EB9D0-59BB-494C-97E1-E8784306E6EA}" srcOrd="0" destOrd="0" parTransId="{17290C0C-A107-49BD-950B-F2086C6CE3D2}" sibTransId="{E211079F-F74C-4107-82E2-AEB132C315FD}"/>
    <dgm:cxn modelId="{2008E188-ED87-4BFB-AB34-93CBA396E941}" type="presOf" srcId="{98D48B82-33BF-42ED-84C9-78B4DD4A087E}" destId="{ED8ABFA6-4BF0-483D-94F8-C5B0E720016E}" srcOrd="0" destOrd="0" presId="urn:microsoft.com/office/officeart/2005/8/layout/hList1"/>
    <dgm:cxn modelId="{FE68E991-F05E-4373-A742-186C4F0ADCCE}" srcId="{B5384FA7-6C64-4CAA-B3CE-33A39009ED39}" destId="{09BF4138-9B8D-47A4-99D4-834DD7D41A0E}" srcOrd="0" destOrd="0" parTransId="{88795A4A-6A02-45B1-B9EE-37FB9D95FF13}" sibTransId="{64B09B0B-0888-468D-B9BA-3F29859B2452}"/>
    <dgm:cxn modelId="{AFF4929D-C214-40F7-A275-4947FE077DB9}" srcId="{FD7A97CF-DD68-4382-A29E-51F82B901C39}" destId="{B48F0AF5-389C-4AC0-AD56-6B987675F638}" srcOrd="0" destOrd="0" parTransId="{CB9F5C49-671E-477B-A4FB-207E2A9A7D03}" sibTransId="{B0B6EED1-B31D-4EDD-878A-32B33A1AE832}"/>
    <dgm:cxn modelId="{376EA2A0-A433-4AF0-A318-025C49C37D88}" type="presOf" srcId="{790EB9D0-59BB-494C-97E1-E8784306E6EA}" destId="{801C869C-1A09-4BF5-AE98-74CC50962E65}" srcOrd="0" destOrd="0" presId="urn:microsoft.com/office/officeart/2005/8/layout/hList1"/>
    <dgm:cxn modelId="{5A5FA5AA-19CB-4DBF-887D-A6EC54634A60}" srcId="{DEE1DB7D-F642-4449-BC01-15084B67817E}" destId="{FD7A97CF-DD68-4382-A29E-51F82B901C39}" srcOrd="2" destOrd="0" parTransId="{EF8DD245-1871-4C44-A30A-E04D4A07080B}" sibTransId="{9FA8F365-3346-4D81-BAEF-31236085B1A7}"/>
    <dgm:cxn modelId="{AA5F2EAB-CF1B-4B11-BBD9-BF96BA3629B9}" type="presOf" srcId="{B5384FA7-6C64-4CAA-B3CE-33A39009ED39}" destId="{B71A819A-B9F1-4195-B0D4-0C88CB5F7837}" srcOrd="0" destOrd="0" presId="urn:microsoft.com/office/officeart/2005/8/layout/hList1"/>
    <dgm:cxn modelId="{A21BEAAD-83E9-4B60-B116-A95BA00C9FDB}" type="presOf" srcId="{09BF4138-9B8D-47A4-99D4-834DD7D41A0E}" destId="{6F29F63E-1114-48A4-BAA9-EB626EC460CD}" srcOrd="0" destOrd="0" presId="urn:microsoft.com/office/officeart/2005/8/layout/hList1"/>
    <dgm:cxn modelId="{62274BAF-2393-4338-BFE6-D7934302F972}" srcId="{DEE1DB7D-F642-4449-BC01-15084B67817E}" destId="{98D48B82-33BF-42ED-84C9-78B4DD4A087E}" srcOrd="0" destOrd="0" parTransId="{14DF090B-BA37-4982-BCFD-38B1213D624D}" sibTransId="{E70A51DE-234B-4031-84D2-C7DB1B41114A}"/>
    <dgm:cxn modelId="{D30A71BB-37D1-4D3D-BA0E-F6272958DDB0}" srcId="{CCFA3768-D4C2-4CC3-990D-E93F599E9DCE}" destId="{E995BC82-BB11-4F90-B9D6-547D430C72B4}" srcOrd="0" destOrd="0" parTransId="{72A2C2FB-5745-4649-A4AA-0EFABB8197D4}" sibTransId="{141C541A-CA9C-4FCD-81C2-F332CDFCE33F}"/>
    <dgm:cxn modelId="{F73DC3E2-0D5F-41EE-A17D-C0519BB11A52}" srcId="{DEE1DB7D-F642-4449-BC01-15084B67817E}" destId="{B5384FA7-6C64-4CAA-B3CE-33A39009ED39}" srcOrd="3" destOrd="0" parTransId="{5D8BB88F-4D58-482B-AAEA-A5895B452089}" sibTransId="{236D8095-DD87-49AF-8ACD-0C0C38D59957}"/>
    <dgm:cxn modelId="{43FC55FC-6F85-4BCA-951C-438853CD3A85}" type="presOf" srcId="{856EFAC5-4D7E-4594-B7B1-C25417A4D4C1}" destId="{4696EE89-F3CD-4FE7-BE46-FE270F9AEA66}" srcOrd="0" destOrd="0" presId="urn:microsoft.com/office/officeart/2005/8/layout/hList1"/>
    <dgm:cxn modelId="{4ED0BCC2-BDDF-4AE9-BC97-1C832B7A1039}" type="presParOf" srcId="{F16A1BC5-9EDF-4795-B401-AE4D9E9F5EA6}" destId="{6FB8D288-9306-4017-90C6-AF31C6C6DD2E}" srcOrd="0" destOrd="0" presId="urn:microsoft.com/office/officeart/2005/8/layout/hList1"/>
    <dgm:cxn modelId="{2BC75B17-1005-4BE3-8EF8-B16C56E5D423}" type="presParOf" srcId="{6FB8D288-9306-4017-90C6-AF31C6C6DD2E}" destId="{ED8ABFA6-4BF0-483D-94F8-C5B0E720016E}" srcOrd="0" destOrd="0" presId="urn:microsoft.com/office/officeart/2005/8/layout/hList1"/>
    <dgm:cxn modelId="{DA1954C6-8793-4F23-B71B-CF8F2C47799A}" type="presParOf" srcId="{6FB8D288-9306-4017-90C6-AF31C6C6DD2E}" destId="{181E8A6B-D22C-4CD5-9B1F-384686B85ABF}" srcOrd="1" destOrd="0" presId="urn:microsoft.com/office/officeart/2005/8/layout/hList1"/>
    <dgm:cxn modelId="{F1B02C5D-B07C-4786-A636-0E857E266258}" type="presParOf" srcId="{F16A1BC5-9EDF-4795-B401-AE4D9E9F5EA6}" destId="{B555E8A9-B84B-4880-A4DA-18D5D6921647}" srcOrd="1" destOrd="0" presId="urn:microsoft.com/office/officeart/2005/8/layout/hList1"/>
    <dgm:cxn modelId="{0AA130D9-F236-4795-8D8D-EE5D5C3DDCB1}" type="presParOf" srcId="{F16A1BC5-9EDF-4795-B401-AE4D9E9F5EA6}" destId="{A75DF106-E6DB-4457-9B77-C7BCECABABB4}" srcOrd="2" destOrd="0" presId="urn:microsoft.com/office/officeart/2005/8/layout/hList1"/>
    <dgm:cxn modelId="{9059968C-CDCA-4759-B6C3-B80AE61D3B84}" type="presParOf" srcId="{A75DF106-E6DB-4457-9B77-C7BCECABABB4}" destId="{B63C1DEA-4C43-4186-86E3-EDFBFBC0289D}" srcOrd="0" destOrd="0" presId="urn:microsoft.com/office/officeart/2005/8/layout/hList1"/>
    <dgm:cxn modelId="{87E57BFB-F034-47DC-AFD3-A6613A855B69}" type="presParOf" srcId="{A75DF106-E6DB-4457-9B77-C7BCECABABB4}" destId="{8DFAE5C8-A2F0-40AD-B5F3-90BF77EA0FF2}" srcOrd="1" destOrd="0" presId="urn:microsoft.com/office/officeart/2005/8/layout/hList1"/>
    <dgm:cxn modelId="{6D3D13C5-092A-40E0-BB6B-83BFE3299B43}" type="presParOf" srcId="{F16A1BC5-9EDF-4795-B401-AE4D9E9F5EA6}" destId="{7F4A9149-F460-4A7A-9C26-5F9C71D06311}" srcOrd="3" destOrd="0" presId="urn:microsoft.com/office/officeart/2005/8/layout/hList1"/>
    <dgm:cxn modelId="{60D47A60-70D5-44DC-918F-88D36832D394}" type="presParOf" srcId="{F16A1BC5-9EDF-4795-B401-AE4D9E9F5EA6}" destId="{7260300E-1D66-40EB-B139-4EED4A9AAC62}" srcOrd="4" destOrd="0" presId="urn:microsoft.com/office/officeart/2005/8/layout/hList1"/>
    <dgm:cxn modelId="{C15B2111-BC84-46F0-A85A-1073A271510C}" type="presParOf" srcId="{7260300E-1D66-40EB-B139-4EED4A9AAC62}" destId="{F2052176-CC16-4275-975A-6A2071D8F106}" srcOrd="0" destOrd="0" presId="urn:microsoft.com/office/officeart/2005/8/layout/hList1"/>
    <dgm:cxn modelId="{94025B9E-00FE-4008-8205-3AE3FB337AB9}" type="presParOf" srcId="{7260300E-1D66-40EB-B139-4EED4A9AAC62}" destId="{49900775-D486-4976-ABC7-84F7F8D5F7EA}" srcOrd="1" destOrd="0" presId="urn:microsoft.com/office/officeart/2005/8/layout/hList1"/>
    <dgm:cxn modelId="{D32789C6-D55B-4021-8CCE-885C4D647AA1}" type="presParOf" srcId="{F16A1BC5-9EDF-4795-B401-AE4D9E9F5EA6}" destId="{A5D7F782-149B-479C-AEC8-54445592E9CC}" srcOrd="5" destOrd="0" presId="urn:microsoft.com/office/officeart/2005/8/layout/hList1"/>
    <dgm:cxn modelId="{C78A2C52-C2E9-4363-9E66-5D6EDD1BDFD0}" type="presParOf" srcId="{F16A1BC5-9EDF-4795-B401-AE4D9E9F5EA6}" destId="{57B290DC-AEC0-48E2-86E7-C59CCE65C3A5}" srcOrd="6" destOrd="0" presId="urn:microsoft.com/office/officeart/2005/8/layout/hList1"/>
    <dgm:cxn modelId="{B9DEA139-2A66-40B3-8466-3DD513B5A2E0}" type="presParOf" srcId="{57B290DC-AEC0-48E2-86E7-C59CCE65C3A5}" destId="{B71A819A-B9F1-4195-B0D4-0C88CB5F7837}" srcOrd="0" destOrd="0" presId="urn:microsoft.com/office/officeart/2005/8/layout/hList1"/>
    <dgm:cxn modelId="{CB417A86-0C79-4022-8A1E-53CC472B0E21}" type="presParOf" srcId="{57B290DC-AEC0-48E2-86E7-C59CCE65C3A5}" destId="{6F29F63E-1114-48A4-BAA9-EB626EC460CD}" srcOrd="1" destOrd="0" presId="urn:microsoft.com/office/officeart/2005/8/layout/hList1"/>
    <dgm:cxn modelId="{22B092D0-CFBF-412E-A877-700118BE1A61}" type="presParOf" srcId="{F16A1BC5-9EDF-4795-B401-AE4D9E9F5EA6}" destId="{CF1EA8D2-F6A9-46C4-B9A2-AE0A10778F02}" srcOrd="7" destOrd="0" presId="urn:microsoft.com/office/officeart/2005/8/layout/hList1"/>
    <dgm:cxn modelId="{B52B51B0-1CE0-4738-989D-79B1ED4D6896}" type="presParOf" srcId="{F16A1BC5-9EDF-4795-B401-AE4D9E9F5EA6}" destId="{C880EAFD-8788-401D-907C-22F24A5BF402}" srcOrd="8" destOrd="0" presId="urn:microsoft.com/office/officeart/2005/8/layout/hList1"/>
    <dgm:cxn modelId="{2B81BDF4-F118-43E1-B5A6-B98AB1CFC09D}" type="presParOf" srcId="{C880EAFD-8788-401D-907C-22F24A5BF402}" destId="{4696EE89-F3CD-4FE7-BE46-FE270F9AEA66}" srcOrd="0" destOrd="0" presId="urn:microsoft.com/office/officeart/2005/8/layout/hList1"/>
    <dgm:cxn modelId="{6992028B-6FF3-44F6-B5B2-93D84790A457}" type="presParOf" srcId="{C880EAFD-8788-401D-907C-22F24A5BF402}" destId="{801C869C-1A09-4BF5-AE98-74CC50962E6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AA8EB7-2CEC-43F4-BE3E-27C792E735FD}">
      <dsp:nvSpPr>
        <dsp:cNvPr id="0" name=""/>
        <dsp:cNvSpPr/>
      </dsp:nvSpPr>
      <dsp:spPr>
        <a:xfrm>
          <a:off x="-6126981" y="-937410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FB0770-5515-4919-A62A-1AA1248DCEEA}">
      <dsp:nvSpPr>
        <dsp:cNvPr id="0" name=""/>
        <dsp:cNvSpPr/>
      </dsp:nvSpPr>
      <dsp:spPr>
        <a:xfrm>
          <a:off x="509717" y="338558"/>
          <a:ext cx="7541700" cy="67755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80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000" kern="1200" dirty="0"/>
            <a:t>Aumenta la disponibilidad de </a:t>
          </a:r>
          <a:r>
            <a:rPr lang="es-MX" sz="2000" b="1" kern="1200" dirty="0">
              <a:solidFill>
                <a:schemeClr val="accent2"/>
              </a:solidFill>
            </a:rPr>
            <a:t>horas de especialistas </a:t>
          </a:r>
          <a:r>
            <a:rPr lang="es-MX" sz="2000" kern="1200" dirty="0"/>
            <a:t>para la APS </a:t>
          </a:r>
          <a:endParaRPr lang="es-CL" sz="2000" kern="1200" dirty="0"/>
        </a:p>
      </dsp:txBody>
      <dsp:txXfrm>
        <a:off x="509717" y="338558"/>
        <a:ext cx="7541700" cy="677550"/>
      </dsp:txXfrm>
    </dsp:sp>
    <dsp:sp modelId="{1EC09A93-2760-4F6D-A365-C76EBF8A8872}">
      <dsp:nvSpPr>
        <dsp:cNvPr id="0" name=""/>
        <dsp:cNvSpPr/>
      </dsp:nvSpPr>
      <dsp:spPr>
        <a:xfrm>
          <a:off x="86248" y="253864"/>
          <a:ext cx="846937" cy="8469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5C9692-417B-4ACF-A665-266171D860CF}">
      <dsp:nvSpPr>
        <dsp:cNvPr id="0" name=""/>
        <dsp:cNvSpPr/>
      </dsp:nvSpPr>
      <dsp:spPr>
        <a:xfrm>
          <a:off x="995230" y="1354558"/>
          <a:ext cx="7056187" cy="67755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80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000" kern="1200" dirty="0"/>
            <a:t>Contribuye a </a:t>
          </a:r>
          <a:r>
            <a:rPr lang="es-MX" sz="2000" b="1" kern="1200" dirty="0">
              <a:solidFill>
                <a:schemeClr val="accent2"/>
              </a:solidFill>
            </a:rPr>
            <a:t>disminuir el tiempo de espera </a:t>
          </a:r>
          <a:r>
            <a:rPr lang="es-MX" sz="2000" kern="1200" dirty="0"/>
            <a:t>para acceder a un especialista </a:t>
          </a:r>
          <a:endParaRPr lang="es-CL" sz="2000" kern="1200" dirty="0"/>
        </a:p>
      </dsp:txBody>
      <dsp:txXfrm>
        <a:off x="995230" y="1354558"/>
        <a:ext cx="7056187" cy="677550"/>
      </dsp:txXfrm>
    </dsp:sp>
    <dsp:sp modelId="{71E5C622-6906-4365-9447-6F0C4AB1206A}">
      <dsp:nvSpPr>
        <dsp:cNvPr id="0" name=""/>
        <dsp:cNvSpPr/>
      </dsp:nvSpPr>
      <dsp:spPr>
        <a:xfrm>
          <a:off x="571761" y="1269864"/>
          <a:ext cx="846937" cy="8469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B6FCB6-CA2C-49AB-A0DB-84F349D7102F}">
      <dsp:nvSpPr>
        <dsp:cNvPr id="0" name=""/>
        <dsp:cNvSpPr/>
      </dsp:nvSpPr>
      <dsp:spPr>
        <a:xfrm>
          <a:off x="1144243" y="2370558"/>
          <a:ext cx="6907174" cy="67755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80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000" kern="1200" dirty="0"/>
            <a:t>Aumentar la eficiencia de la atención primaria &gt; </a:t>
          </a:r>
          <a:r>
            <a:rPr lang="es-MX" sz="2000" b="1" kern="1200" dirty="0">
              <a:solidFill>
                <a:schemeClr val="accent2"/>
              </a:solidFill>
            </a:rPr>
            <a:t>Mayor Resolutividad </a:t>
          </a:r>
        </a:p>
      </dsp:txBody>
      <dsp:txXfrm>
        <a:off x="1144243" y="2370558"/>
        <a:ext cx="6907174" cy="677550"/>
      </dsp:txXfrm>
    </dsp:sp>
    <dsp:sp modelId="{D139DC9C-2610-4B71-AE62-5BF15C1A0900}">
      <dsp:nvSpPr>
        <dsp:cNvPr id="0" name=""/>
        <dsp:cNvSpPr/>
      </dsp:nvSpPr>
      <dsp:spPr>
        <a:xfrm>
          <a:off x="720774" y="2285864"/>
          <a:ext cx="846937" cy="8469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145C43-43C9-45FA-8EA7-66F9AAB94047}">
      <dsp:nvSpPr>
        <dsp:cNvPr id="0" name=""/>
        <dsp:cNvSpPr/>
      </dsp:nvSpPr>
      <dsp:spPr>
        <a:xfrm>
          <a:off x="995230" y="3386558"/>
          <a:ext cx="7056187" cy="67755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80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000" kern="1200" dirty="0"/>
            <a:t>Ayuda a </a:t>
          </a:r>
          <a:r>
            <a:rPr lang="es-MX" sz="2000" b="1" kern="1200" dirty="0">
              <a:solidFill>
                <a:schemeClr val="accent2"/>
              </a:solidFill>
            </a:rPr>
            <a:t>evitar los traslados y gastos </a:t>
          </a:r>
          <a:r>
            <a:rPr lang="es-MX" sz="2000" kern="1200" dirty="0"/>
            <a:t>innecesarios </a:t>
          </a:r>
        </a:p>
      </dsp:txBody>
      <dsp:txXfrm>
        <a:off x="995230" y="3386558"/>
        <a:ext cx="7056187" cy="677550"/>
      </dsp:txXfrm>
    </dsp:sp>
    <dsp:sp modelId="{A4AC55C9-EC4A-4EED-B3EE-F81D44787D39}">
      <dsp:nvSpPr>
        <dsp:cNvPr id="0" name=""/>
        <dsp:cNvSpPr/>
      </dsp:nvSpPr>
      <dsp:spPr>
        <a:xfrm>
          <a:off x="571761" y="3301864"/>
          <a:ext cx="846937" cy="8469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A6FA2B-5EC9-43FA-8A87-E662F9DF588C}">
      <dsp:nvSpPr>
        <dsp:cNvPr id="0" name=""/>
        <dsp:cNvSpPr/>
      </dsp:nvSpPr>
      <dsp:spPr>
        <a:xfrm>
          <a:off x="509717" y="4402558"/>
          <a:ext cx="7541700" cy="67755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80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000" kern="1200" dirty="0"/>
            <a:t>Contribuye a </a:t>
          </a:r>
          <a:r>
            <a:rPr lang="es-MX" sz="2000" b="1" kern="1200" dirty="0">
              <a:solidFill>
                <a:schemeClr val="accent2"/>
              </a:solidFill>
            </a:rPr>
            <a:t>descongestionar</a:t>
          </a:r>
          <a:r>
            <a:rPr lang="es-MX" sz="2000" kern="1200" dirty="0"/>
            <a:t> los establecimientos hospitalarios</a:t>
          </a:r>
        </a:p>
      </dsp:txBody>
      <dsp:txXfrm>
        <a:off x="509717" y="4402558"/>
        <a:ext cx="7541700" cy="677550"/>
      </dsp:txXfrm>
    </dsp:sp>
    <dsp:sp modelId="{448F8D8A-5B36-4E70-9256-A8044A5D367B}">
      <dsp:nvSpPr>
        <dsp:cNvPr id="0" name=""/>
        <dsp:cNvSpPr/>
      </dsp:nvSpPr>
      <dsp:spPr>
        <a:xfrm>
          <a:off x="86248" y="4317864"/>
          <a:ext cx="846937" cy="8469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5AB736-39C5-4EAF-8B0F-4B32469E2427}">
      <dsp:nvSpPr>
        <dsp:cNvPr id="0" name=""/>
        <dsp:cNvSpPr/>
      </dsp:nvSpPr>
      <dsp:spPr>
        <a:xfrm>
          <a:off x="4551" y="1210720"/>
          <a:ext cx="1411014" cy="1411014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7653" tIns="12700" rIns="77653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000" b="1" kern="1200" dirty="0">
              <a:solidFill>
                <a:srgbClr val="587682"/>
              </a:solidFill>
            </a:rPr>
            <a:t>Médicos  APS </a:t>
          </a:r>
        </a:p>
      </dsp:txBody>
      <dsp:txXfrm>
        <a:off x="211189" y="1417358"/>
        <a:ext cx="997738" cy="997738"/>
      </dsp:txXfrm>
    </dsp:sp>
    <dsp:sp modelId="{460DC4DE-4AE2-46A4-A929-3F9B1DADDC7B}">
      <dsp:nvSpPr>
        <dsp:cNvPr id="0" name=""/>
        <dsp:cNvSpPr/>
      </dsp:nvSpPr>
      <dsp:spPr>
        <a:xfrm>
          <a:off x="1133363" y="1210720"/>
          <a:ext cx="1411014" cy="1411014"/>
        </a:xfrm>
        <a:prstGeom prst="ellipse">
          <a:avLst/>
        </a:prstGeom>
        <a:solidFill>
          <a:schemeClr val="accent4">
            <a:alpha val="50000"/>
            <a:hueOff val="1485099"/>
            <a:satOff val="-6853"/>
            <a:lumOff val="252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7653" tIns="12700" rIns="77653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000" b="1" kern="1200" dirty="0">
              <a:solidFill>
                <a:srgbClr val="587682"/>
              </a:solidFill>
            </a:rPr>
            <a:t>Especialista HD y Red</a:t>
          </a:r>
        </a:p>
      </dsp:txBody>
      <dsp:txXfrm>
        <a:off x="1340001" y="1417358"/>
        <a:ext cx="997738" cy="997738"/>
      </dsp:txXfrm>
    </dsp:sp>
    <dsp:sp modelId="{6DE996C5-00BF-4063-BAE3-B1F4B4C862EE}">
      <dsp:nvSpPr>
        <dsp:cNvPr id="0" name=""/>
        <dsp:cNvSpPr/>
      </dsp:nvSpPr>
      <dsp:spPr>
        <a:xfrm>
          <a:off x="2262175" y="1210720"/>
          <a:ext cx="1411014" cy="1411014"/>
        </a:xfrm>
        <a:prstGeom prst="ellipse">
          <a:avLst/>
        </a:prstGeom>
        <a:solidFill>
          <a:schemeClr val="accent4">
            <a:alpha val="50000"/>
            <a:hueOff val="2970198"/>
            <a:satOff val="-13705"/>
            <a:lumOff val="504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7653" tIns="12700" rIns="77653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000" b="1" kern="1200" dirty="0">
              <a:solidFill>
                <a:srgbClr val="587682"/>
              </a:solidFill>
            </a:rPr>
            <a:t>SOME Atención Primaria</a:t>
          </a:r>
        </a:p>
      </dsp:txBody>
      <dsp:txXfrm>
        <a:off x="2468813" y="1417358"/>
        <a:ext cx="997738" cy="997738"/>
      </dsp:txXfrm>
    </dsp:sp>
    <dsp:sp modelId="{5379462B-3F83-4335-9AD5-B510E45A9897}">
      <dsp:nvSpPr>
        <dsp:cNvPr id="0" name=""/>
        <dsp:cNvSpPr/>
      </dsp:nvSpPr>
      <dsp:spPr>
        <a:xfrm>
          <a:off x="3390986" y="1210720"/>
          <a:ext cx="1411014" cy="1411014"/>
        </a:xfrm>
        <a:prstGeom prst="ellipse">
          <a:avLst/>
        </a:prstGeom>
        <a:solidFill>
          <a:schemeClr val="accent4">
            <a:alpha val="50000"/>
            <a:hueOff val="4455297"/>
            <a:satOff val="-20558"/>
            <a:lumOff val="756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7653" tIns="12700" rIns="77653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000" b="1" kern="1200" dirty="0">
              <a:solidFill>
                <a:srgbClr val="587682"/>
              </a:solidFill>
            </a:rPr>
            <a:t>SOME Atención Secundaria</a:t>
          </a:r>
        </a:p>
      </dsp:txBody>
      <dsp:txXfrm>
        <a:off x="3597624" y="1417358"/>
        <a:ext cx="997738" cy="997738"/>
      </dsp:txXfrm>
    </dsp:sp>
    <dsp:sp modelId="{F14F0299-04B5-4EFD-89F0-778C3DE25814}">
      <dsp:nvSpPr>
        <dsp:cNvPr id="0" name=""/>
        <dsp:cNvSpPr/>
      </dsp:nvSpPr>
      <dsp:spPr>
        <a:xfrm>
          <a:off x="4519798" y="1210720"/>
          <a:ext cx="1411014" cy="1411014"/>
        </a:xfrm>
        <a:prstGeom prst="ellipse">
          <a:avLst/>
        </a:prstGeom>
        <a:solidFill>
          <a:schemeClr val="accent4">
            <a:alpha val="50000"/>
            <a:hueOff val="5940396"/>
            <a:satOff val="-27410"/>
            <a:lumOff val="1009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7653" tIns="12700" rIns="77653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000" b="1" kern="1200" dirty="0">
              <a:solidFill>
                <a:srgbClr val="587682"/>
              </a:solidFill>
            </a:rPr>
            <a:t>Referente Salud Digital SSI </a:t>
          </a:r>
        </a:p>
      </dsp:txBody>
      <dsp:txXfrm>
        <a:off x="4726436" y="1417358"/>
        <a:ext cx="997738" cy="997738"/>
      </dsp:txXfrm>
    </dsp:sp>
    <dsp:sp modelId="{06B6EAF4-5F66-45DA-A2C9-B92F9FFE428D}">
      <dsp:nvSpPr>
        <dsp:cNvPr id="0" name=""/>
        <dsp:cNvSpPr/>
      </dsp:nvSpPr>
      <dsp:spPr>
        <a:xfrm>
          <a:off x="5648610" y="1210720"/>
          <a:ext cx="1411014" cy="1411014"/>
        </a:xfrm>
        <a:prstGeom prst="ellipse">
          <a:avLst/>
        </a:prstGeom>
        <a:solidFill>
          <a:schemeClr val="accent4">
            <a:alpha val="50000"/>
            <a:hueOff val="7425494"/>
            <a:satOff val="-34263"/>
            <a:lumOff val="1261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7653" tIns="12700" rIns="77653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000" b="1" kern="1200" dirty="0">
              <a:solidFill>
                <a:srgbClr val="587682"/>
              </a:solidFill>
            </a:rPr>
            <a:t>Referentes SST</a:t>
          </a:r>
          <a:endParaRPr lang="es-CL" sz="1000" b="1" kern="1200" dirty="0">
            <a:solidFill>
              <a:srgbClr val="587682"/>
            </a:solidFill>
          </a:endParaRPr>
        </a:p>
      </dsp:txBody>
      <dsp:txXfrm>
        <a:off x="5855248" y="1417358"/>
        <a:ext cx="997738" cy="997738"/>
      </dsp:txXfrm>
    </dsp:sp>
    <dsp:sp modelId="{240D752E-818F-4921-B0F1-F7EAC1D6B5C3}">
      <dsp:nvSpPr>
        <dsp:cNvPr id="0" name=""/>
        <dsp:cNvSpPr/>
      </dsp:nvSpPr>
      <dsp:spPr>
        <a:xfrm>
          <a:off x="6777421" y="1210720"/>
          <a:ext cx="1411014" cy="1411014"/>
        </a:xfrm>
        <a:prstGeom prst="ellipse">
          <a:avLst/>
        </a:prstGeom>
        <a:solidFill>
          <a:schemeClr val="accent4">
            <a:alpha val="50000"/>
            <a:hueOff val="8910593"/>
            <a:satOff val="-41115"/>
            <a:lumOff val="1513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7653" tIns="12700" rIns="77653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000" b="1" kern="1200" dirty="0">
              <a:solidFill>
                <a:srgbClr val="587682"/>
              </a:solidFill>
            </a:rPr>
            <a:t>Implementador Hospital Digital SSI </a:t>
          </a:r>
          <a:endParaRPr lang="es-CL" sz="1000" b="1" kern="1200" dirty="0">
            <a:solidFill>
              <a:srgbClr val="587682"/>
            </a:solidFill>
          </a:endParaRPr>
        </a:p>
      </dsp:txBody>
      <dsp:txXfrm>
        <a:off x="6984059" y="1417358"/>
        <a:ext cx="997738" cy="997738"/>
      </dsp:txXfrm>
    </dsp:sp>
    <dsp:sp modelId="{550CD8A7-DFAD-4FC8-B1A0-B20763656C52}">
      <dsp:nvSpPr>
        <dsp:cNvPr id="0" name=""/>
        <dsp:cNvSpPr/>
      </dsp:nvSpPr>
      <dsp:spPr>
        <a:xfrm>
          <a:off x="7906233" y="1210720"/>
          <a:ext cx="1411014" cy="1411014"/>
        </a:xfrm>
        <a:prstGeom prst="ellipse">
          <a:avLst/>
        </a:prstGeom>
        <a:solidFill>
          <a:schemeClr val="accent4">
            <a:alpha val="50000"/>
            <a:hueOff val="10395692"/>
            <a:satOff val="-47968"/>
            <a:lumOff val="1765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7653" tIns="12700" rIns="77653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000" b="1" kern="1200" dirty="0">
              <a:solidFill>
                <a:srgbClr val="587682"/>
              </a:solidFill>
            </a:rPr>
            <a:t>Directores de Célula</a:t>
          </a:r>
        </a:p>
      </dsp:txBody>
      <dsp:txXfrm>
        <a:off x="8112871" y="1417358"/>
        <a:ext cx="997738" cy="99773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757F1C-BCE7-4539-AA18-FEA7988990AB}">
      <dsp:nvSpPr>
        <dsp:cNvPr id="0" name=""/>
        <dsp:cNvSpPr/>
      </dsp:nvSpPr>
      <dsp:spPr>
        <a:xfrm>
          <a:off x="0" y="466815"/>
          <a:ext cx="11057466" cy="43173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 dirty="0"/>
            <a:t>Criterios de Inclusión </a:t>
          </a:r>
          <a:endParaRPr lang="es-CL" sz="1800" kern="1200" dirty="0"/>
        </a:p>
      </dsp:txBody>
      <dsp:txXfrm>
        <a:off x="21075" y="487890"/>
        <a:ext cx="11015316" cy="389580"/>
      </dsp:txXfrm>
    </dsp:sp>
    <dsp:sp modelId="{29CFB218-B21B-42A1-85BD-864C80CAA366}">
      <dsp:nvSpPr>
        <dsp:cNvPr id="0" name=""/>
        <dsp:cNvSpPr/>
      </dsp:nvSpPr>
      <dsp:spPr>
        <a:xfrm>
          <a:off x="0" y="950385"/>
          <a:ext cx="11057466" cy="431730"/>
        </a:xfrm>
        <a:prstGeom prst="roundRect">
          <a:avLst/>
        </a:prstGeom>
        <a:solidFill>
          <a:schemeClr val="accent4">
            <a:hueOff val="5197846"/>
            <a:satOff val="-23984"/>
            <a:lumOff val="88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 dirty="0"/>
            <a:t>Consultas asociadas a Hipotiroidismo que requieran alguna orientación, como en </a:t>
          </a:r>
          <a:r>
            <a:rPr lang="es-CL" sz="1800" kern="1200" dirty="0"/>
            <a:t>los siguientes casos ejemplos:</a:t>
          </a:r>
        </a:p>
      </dsp:txBody>
      <dsp:txXfrm>
        <a:off x="21075" y="971460"/>
        <a:ext cx="11015316" cy="389580"/>
      </dsp:txXfrm>
    </dsp:sp>
    <dsp:sp modelId="{9E05EFF7-26C3-441A-B165-67CCABE32C4B}">
      <dsp:nvSpPr>
        <dsp:cNvPr id="0" name=""/>
        <dsp:cNvSpPr/>
      </dsp:nvSpPr>
      <dsp:spPr>
        <a:xfrm>
          <a:off x="0" y="1382115"/>
          <a:ext cx="11057466" cy="726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1075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MX" sz="1400" kern="1200" dirty="0"/>
            <a:t> Usuarios con sospecha y/o confirmación de esta patología.</a:t>
          </a:r>
          <a:endParaRPr lang="es-CL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MX" sz="1400" kern="1200" dirty="0"/>
            <a:t> Ajustes y orientación de terapia farmacológica y/o tratamiento refractario.</a:t>
          </a:r>
          <a:endParaRPr lang="es-CL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MX" sz="1400" kern="1200" dirty="0"/>
            <a:t>Pacientes mayores de 75 años y embarazada con este problema de salud.</a:t>
          </a:r>
          <a:endParaRPr lang="es-CL" sz="1400" kern="1200" dirty="0"/>
        </a:p>
      </dsp:txBody>
      <dsp:txXfrm>
        <a:off x="0" y="1382115"/>
        <a:ext cx="11057466" cy="726570"/>
      </dsp:txXfrm>
    </dsp:sp>
    <dsp:sp modelId="{B707B842-FACF-4B85-A3BE-BF0C7C6C8E60}">
      <dsp:nvSpPr>
        <dsp:cNvPr id="0" name=""/>
        <dsp:cNvSpPr/>
      </dsp:nvSpPr>
      <dsp:spPr>
        <a:xfrm>
          <a:off x="0" y="2108685"/>
          <a:ext cx="11057466" cy="431730"/>
        </a:xfrm>
        <a:prstGeom prst="roundRect">
          <a:avLst/>
        </a:prstGeom>
        <a:solidFill>
          <a:schemeClr val="accent4">
            <a:hueOff val="10395692"/>
            <a:satOff val="-47968"/>
            <a:lumOff val="176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 dirty="0"/>
            <a:t>Consultas asociadas a Hipertiroidismo que requieran alguna orientación, como en los siguientes casos ejemplos:</a:t>
          </a:r>
          <a:endParaRPr lang="es-CL" sz="1800" kern="1200" dirty="0"/>
        </a:p>
      </dsp:txBody>
      <dsp:txXfrm>
        <a:off x="21075" y="2129760"/>
        <a:ext cx="11015316" cy="389580"/>
      </dsp:txXfrm>
    </dsp:sp>
    <dsp:sp modelId="{C24996D7-57A0-43B5-9958-178C8E2D3685}">
      <dsp:nvSpPr>
        <dsp:cNvPr id="0" name=""/>
        <dsp:cNvSpPr/>
      </dsp:nvSpPr>
      <dsp:spPr>
        <a:xfrm>
          <a:off x="0" y="2540415"/>
          <a:ext cx="11057466" cy="726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1075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MX" sz="1400" kern="1200" dirty="0"/>
            <a:t> Usuarios con alteraciones en pruebas tiroideas, con sospecha y/o </a:t>
          </a:r>
          <a:r>
            <a:rPr lang="es-CL" sz="1400" kern="1200" dirty="0"/>
            <a:t>confirmación de esta patología.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MX" sz="1400" kern="1200" dirty="0"/>
            <a:t> Ajustes y orientación de terapia farmacológica y/o tratamiento refractario.</a:t>
          </a:r>
          <a:endParaRPr lang="es-CL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MX" sz="1400" kern="1200" dirty="0"/>
            <a:t> Consultas que requieran alguna orientación en caso de sospecha y/o apoyo en </a:t>
          </a:r>
          <a:r>
            <a:rPr lang="es-CL" sz="1400" kern="1200" dirty="0"/>
            <a:t>patología de nódulo tiroideo.</a:t>
          </a:r>
        </a:p>
      </dsp:txBody>
      <dsp:txXfrm>
        <a:off x="0" y="2540415"/>
        <a:ext cx="11057466" cy="72657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EDE24C-C230-4BFA-A092-A533697D1EDD}">
      <dsp:nvSpPr>
        <dsp:cNvPr id="0" name=""/>
        <dsp:cNvSpPr/>
      </dsp:nvSpPr>
      <dsp:spPr>
        <a:xfrm>
          <a:off x="0" y="1587"/>
          <a:ext cx="2238374" cy="13430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900" kern="1200" dirty="0"/>
            <a:t>Personas con sospecha o confirmación de tumor hipofisario </a:t>
          </a:r>
          <a:endParaRPr lang="es-CL" sz="1900" kern="1200" dirty="0"/>
        </a:p>
      </dsp:txBody>
      <dsp:txXfrm>
        <a:off x="0" y="1587"/>
        <a:ext cx="2238374" cy="1343025"/>
      </dsp:txXfrm>
    </dsp:sp>
    <dsp:sp modelId="{8E3FE45B-1AFE-4B6A-B430-D388145CFA59}">
      <dsp:nvSpPr>
        <dsp:cNvPr id="0" name=""/>
        <dsp:cNvSpPr/>
      </dsp:nvSpPr>
      <dsp:spPr>
        <a:xfrm>
          <a:off x="2462212" y="1587"/>
          <a:ext cx="2238374" cy="13430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900" kern="1200" dirty="0"/>
            <a:t>Personas con diagnostico de algún tipo de Diabetes Mellitus </a:t>
          </a:r>
          <a:endParaRPr lang="es-CL" sz="1900" kern="1200" dirty="0"/>
        </a:p>
      </dsp:txBody>
      <dsp:txXfrm>
        <a:off x="2462212" y="1587"/>
        <a:ext cx="2238374" cy="1343025"/>
      </dsp:txXfrm>
    </dsp:sp>
    <dsp:sp modelId="{40D9F0D9-1944-42A4-A520-AB8205F2F023}">
      <dsp:nvSpPr>
        <dsp:cNvPr id="0" name=""/>
        <dsp:cNvSpPr/>
      </dsp:nvSpPr>
      <dsp:spPr>
        <a:xfrm>
          <a:off x="4924425" y="1587"/>
          <a:ext cx="2238374" cy="13430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900" kern="1200" dirty="0"/>
            <a:t>Cualquier otro Diagnostico no indicado en los criterios de inclusión </a:t>
          </a:r>
          <a:endParaRPr lang="es-CL" sz="1900" kern="1200" dirty="0"/>
        </a:p>
      </dsp:txBody>
      <dsp:txXfrm>
        <a:off x="4924425" y="1587"/>
        <a:ext cx="2238374" cy="134302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56F909-F5D1-4981-AC66-FCAF87011853}">
      <dsp:nvSpPr>
        <dsp:cNvPr id="0" name=""/>
        <dsp:cNvSpPr/>
      </dsp:nvSpPr>
      <dsp:spPr>
        <a:xfrm>
          <a:off x="0" y="48208"/>
          <a:ext cx="7687732" cy="575639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400" kern="1200" dirty="0"/>
            <a:t>Objetivo General  </a:t>
          </a:r>
          <a:endParaRPr lang="es-CL" sz="2400" kern="1200" dirty="0"/>
        </a:p>
      </dsp:txBody>
      <dsp:txXfrm>
        <a:off x="28100" y="76308"/>
        <a:ext cx="7631532" cy="519439"/>
      </dsp:txXfrm>
    </dsp:sp>
    <dsp:sp modelId="{D3036103-EC74-4C14-B2AE-B8275387E4B9}">
      <dsp:nvSpPr>
        <dsp:cNvPr id="0" name=""/>
        <dsp:cNvSpPr/>
      </dsp:nvSpPr>
      <dsp:spPr>
        <a:xfrm>
          <a:off x="0" y="702831"/>
          <a:ext cx="7687732" cy="1391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4085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ES" sz="1900" kern="1200" dirty="0">
              <a:latin typeface="Corbel" panose="020B0503020204020204" pitchFamily="34" charset="0"/>
              <a:ea typeface="Calibri" panose="020F0502020204030204" pitchFamily="34" charset="0"/>
              <a:cs typeface="Arial" panose="020B0604020202020204" pitchFamily="34" charset="0"/>
            </a:rPr>
            <a:t>Fortalecer la Red Integrada de los Servicios de Salud, con un modelo de atención a distancia integrado y complementario a la atención presencial, enfocado en las personas, permitiendo así mejorar el acceso, oportunidad, pertinencia y continuidad de la atención en la especialidad de Reumatología a través del uso de TIC.</a:t>
          </a:r>
          <a:endParaRPr lang="es-CL" sz="1900" kern="1200" dirty="0"/>
        </a:p>
      </dsp:txBody>
      <dsp:txXfrm>
        <a:off x="0" y="702831"/>
        <a:ext cx="7687732" cy="1391040"/>
      </dsp:txXfrm>
    </dsp:sp>
    <dsp:sp modelId="{855AAC1A-A3AA-4D44-9F53-CC5FFC21B478}">
      <dsp:nvSpPr>
        <dsp:cNvPr id="0" name=""/>
        <dsp:cNvSpPr/>
      </dsp:nvSpPr>
      <dsp:spPr>
        <a:xfrm>
          <a:off x="0" y="2093871"/>
          <a:ext cx="7687732" cy="575639"/>
        </a:xfrm>
        <a:prstGeom prst="roundRect">
          <a:avLst/>
        </a:prstGeom>
        <a:solidFill>
          <a:schemeClr val="accent4">
            <a:hueOff val="10395692"/>
            <a:satOff val="-47968"/>
            <a:lumOff val="176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400" kern="1200" dirty="0"/>
            <a:t>Grupo Objetivo </a:t>
          </a:r>
          <a:endParaRPr lang="es-CL" sz="2400" kern="1200" dirty="0"/>
        </a:p>
      </dsp:txBody>
      <dsp:txXfrm>
        <a:off x="28100" y="2121971"/>
        <a:ext cx="7631532" cy="519439"/>
      </dsp:txXfrm>
    </dsp:sp>
    <dsp:sp modelId="{FDC2AAE7-B26E-4941-90E6-4B78F04C528D}">
      <dsp:nvSpPr>
        <dsp:cNvPr id="0" name=""/>
        <dsp:cNvSpPr/>
      </dsp:nvSpPr>
      <dsp:spPr>
        <a:xfrm>
          <a:off x="0" y="2669511"/>
          <a:ext cx="7687732" cy="1391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4085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ES" sz="1900" kern="1200" dirty="0">
              <a:effectLst/>
              <a:latin typeface="Corbel" panose="020B0503020204020204" pitchFamily="34" charset="0"/>
              <a:ea typeface="Calibri" panose="020F0502020204030204" pitchFamily="34" charset="0"/>
              <a:cs typeface="Arial" panose="020B0604020202020204" pitchFamily="34" charset="0"/>
            </a:rPr>
            <a:t>Usuarios/as que tienen </a:t>
          </a:r>
          <a:r>
            <a:rPr lang="es-ES" sz="1900" b="1" kern="1200" dirty="0">
              <a:effectLst/>
              <a:latin typeface="Corbel" panose="020B0503020204020204" pitchFamily="34" charset="0"/>
              <a:ea typeface="Calibri" panose="020F0502020204030204" pitchFamily="34" charset="0"/>
              <a:cs typeface="Arial" panose="020B0604020202020204" pitchFamily="34" charset="0"/>
            </a:rPr>
            <a:t>diagnóstico previo de artropatía inflamatoria, </a:t>
          </a:r>
          <a:r>
            <a:rPr lang="es-ES" sz="1900" kern="1200" dirty="0">
              <a:effectLst/>
              <a:latin typeface="Corbel" panose="020B0503020204020204" pitchFamily="34" charset="0"/>
              <a:ea typeface="Calibri" panose="020F0502020204030204" pitchFamily="34" charset="0"/>
              <a:cs typeface="Arial" panose="020B0604020202020204" pitchFamily="34" charset="0"/>
            </a:rPr>
            <a:t>que se encuentran en control en establecimientos ambulatorios de especialidades y que, en el nivel primario de atención, presenten complicaciones asociadas su enfermedad y que requieran evaluación por médico especialista.</a:t>
          </a:r>
          <a:endParaRPr lang="es-CL" sz="1900" kern="1200" dirty="0"/>
        </a:p>
      </dsp:txBody>
      <dsp:txXfrm>
        <a:off x="0" y="2669511"/>
        <a:ext cx="7687732" cy="139104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50865A-14F7-489A-A31C-69217B7DE09D}">
      <dsp:nvSpPr>
        <dsp:cNvPr id="0" name=""/>
        <dsp:cNvSpPr/>
      </dsp:nvSpPr>
      <dsp:spPr>
        <a:xfrm>
          <a:off x="108632" y="685"/>
          <a:ext cx="2083047" cy="124982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800" kern="1200" dirty="0"/>
            <a:t>Programación de Atenciones </a:t>
          </a:r>
        </a:p>
      </dsp:txBody>
      <dsp:txXfrm>
        <a:off x="108632" y="685"/>
        <a:ext cx="2083047" cy="1249828"/>
      </dsp:txXfrm>
    </dsp:sp>
    <dsp:sp modelId="{3454B785-8853-40D8-8673-0748BF7D9F67}">
      <dsp:nvSpPr>
        <dsp:cNvPr id="0" name=""/>
        <dsp:cNvSpPr/>
      </dsp:nvSpPr>
      <dsp:spPr>
        <a:xfrm>
          <a:off x="2399984" y="685"/>
          <a:ext cx="2083047" cy="1249828"/>
        </a:xfrm>
        <a:prstGeom prst="rect">
          <a:avLst/>
        </a:prstGeom>
        <a:solidFill>
          <a:schemeClr val="accent4">
            <a:hueOff val="1732615"/>
            <a:satOff val="-7995"/>
            <a:lumOff val="29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800" kern="1200" dirty="0"/>
            <a:t>Solicitud de interconsulta: 20 min</a:t>
          </a:r>
        </a:p>
      </dsp:txBody>
      <dsp:txXfrm>
        <a:off x="2399984" y="685"/>
        <a:ext cx="2083047" cy="1249828"/>
      </dsp:txXfrm>
    </dsp:sp>
    <dsp:sp modelId="{08556872-E7CA-4EB4-8E14-3F97CD5EF4B9}">
      <dsp:nvSpPr>
        <dsp:cNvPr id="0" name=""/>
        <dsp:cNvSpPr/>
      </dsp:nvSpPr>
      <dsp:spPr>
        <a:xfrm>
          <a:off x="4691337" y="685"/>
          <a:ext cx="2083047" cy="1249828"/>
        </a:xfrm>
        <a:prstGeom prst="rect">
          <a:avLst/>
        </a:prstGeom>
        <a:solidFill>
          <a:schemeClr val="accent4">
            <a:hueOff val="3465231"/>
            <a:satOff val="-15989"/>
            <a:lumOff val="58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800" kern="1200" dirty="0"/>
            <a:t>Para cierre de casos 15 min (presencial, videollamada o llamado telefónico)</a:t>
          </a:r>
        </a:p>
      </dsp:txBody>
      <dsp:txXfrm>
        <a:off x="4691337" y="685"/>
        <a:ext cx="2083047" cy="1249828"/>
      </dsp:txXfrm>
    </dsp:sp>
    <dsp:sp modelId="{D57EC75D-4402-403F-B7A6-69902AD5A924}">
      <dsp:nvSpPr>
        <dsp:cNvPr id="0" name=""/>
        <dsp:cNvSpPr/>
      </dsp:nvSpPr>
      <dsp:spPr>
        <a:xfrm>
          <a:off x="6982690" y="685"/>
          <a:ext cx="2083047" cy="1249828"/>
        </a:xfrm>
        <a:prstGeom prst="rect">
          <a:avLst/>
        </a:prstGeom>
        <a:solidFill>
          <a:schemeClr val="accent4">
            <a:hueOff val="5197846"/>
            <a:satOff val="-23984"/>
            <a:lumOff val="88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800" kern="1200" dirty="0"/>
            <a:t>La entrega de respuesta no debe exceder los 30 días. </a:t>
          </a:r>
        </a:p>
      </dsp:txBody>
      <dsp:txXfrm>
        <a:off x="6982690" y="685"/>
        <a:ext cx="2083047" cy="1249828"/>
      </dsp:txXfrm>
    </dsp:sp>
    <dsp:sp modelId="{62A9EC2E-9E30-43D2-8BEC-A2C2D4A70D54}">
      <dsp:nvSpPr>
        <dsp:cNvPr id="0" name=""/>
        <dsp:cNvSpPr/>
      </dsp:nvSpPr>
      <dsp:spPr>
        <a:xfrm>
          <a:off x="1254308" y="1458818"/>
          <a:ext cx="2083047" cy="1249828"/>
        </a:xfrm>
        <a:prstGeom prst="rect">
          <a:avLst/>
        </a:prstGeom>
        <a:solidFill>
          <a:schemeClr val="accent4">
            <a:hueOff val="6930461"/>
            <a:satOff val="-31979"/>
            <a:lumOff val="11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800" kern="1200" dirty="0"/>
            <a:t>Contar con Referentes de Salud Digital en cada establecimiento </a:t>
          </a:r>
        </a:p>
      </dsp:txBody>
      <dsp:txXfrm>
        <a:off x="1254308" y="1458818"/>
        <a:ext cx="2083047" cy="1249828"/>
      </dsp:txXfrm>
    </dsp:sp>
    <dsp:sp modelId="{8EED7682-07E8-4F4E-83FE-FAAB5C83F90F}">
      <dsp:nvSpPr>
        <dsp:cNvPr id="0" name=""/>
        <dsp:cNvSpPr/>
      </dsp:nvSpPr>
      <dsp:spPr>
        <a:xfrm>
          <a:off x="3545661" y="1458818"/>
          <a:ext cx="2083047" cy="1249828"/>
        </a:xfrm>
        <a:prstGeom prst="rect">
          <a:avLst/>
        </a:prstGeom>
        <a:solidFill>
          <a:schemeClr val="accent4">
            <a:hueOff val="8663077"/>
            <a:satOff val="-39973"/>
            <a:lumOff val="147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 dirty="0"/>
            <a:t>4 Establecimientos nuevos</a:t>
          </a:r>
          <a:endParaRPr lang="es-CL" sz="1800" kern="1200" dirty="0"/>
        </a:p>
      </dsp:txBody>
      <dsp:txXfrm>
        <a:off x="3545661" y="1458818"/>
        <a:ext cx="2083047" cy="1249828"/>
      </dsp:txXfrm>
    </dsp:sp>
    <dsp:sp modelId="{16EF92E2-EB2D-4322-8A46-31F30DF43441}">
      <dsp:nvSpPr>
        <dsp:cNvPr id="0" name=""/>
        <dsp:cNvSpPr/>
      </dsp:nvSpPr>
      <dsp:spPr>
        <a:xfrm>
          <a:off x="5837013" y="1458818"/>
          <a:ext cx="2083047" cy="1249828"/>
        </a:xfrm>
        <a:prstGeom prst="rect">
          <a:avLst/>
        </a:prstGeom>
        <a:solidFill>
          <a:schemeClr val="accent4">
            <a:hueOff val="10395692"/>
            <a:satOff val="-47968"/>
            <a:lumOff val="176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 dirty="0"/>
            <a:t>Trabajo coordinado con APS </a:t>
          </a:r>
          <a:endParaRPr lang="es-CL" sz="1800" kern="1200" dirty="0"/>
        </a:p>
      </dsp:txBody>
      <dsp:txXfrm>
        <a:off x="5837013" y="1458818"/>
        <a:ext cx="2083047" cy="124982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3F036F-8E81-41B5-95FB-E7039FC0E17F}">
      <dsp:nvSpPr>
        <dsp:cNvPr id="0" name=""/>
        <dsp:cNvSpPr/>
      </dsp:nvSpPr>
      <dsp:spPr>
        <a:xfrm>
          <a:off x="1221978" y="2645"/>
          <a:ext cx="2706687" cy="1624012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 dirty="0"/>
            <a:t>Mantener las reuniones periódicas con los Referentes de APS que participen en las estrategias de Salud Digital</a:t>
          </a:r>
          <a:endParaRPr lang="es-CL" sz="1800" kern="1200" dirty="0"/>
        </a:p>
      </dsp:txBody>
      <dsp:txXfrm>
        <a:off x="1221978" y="2645"/>
        <a:ext cx="2706687" cy="1624012"/>
      </dsp:txXfrm>
    </dsp:sp>
    <dsp:sp modelId="{93C692D2-5EC7-4021-BBC6-3FE9DB202EB5}">
      <dsp:nvSpPr>
        <dsp:cNvPr id="0" name=""/>
        <dsp:cNvSpPr/>
      </dsp:nvSpPr>
      <dsp:spPr>
        <a:xfrm>
          <a:off x="4199334" y="2645"/>
          <a:ext cx="2706687" cy="1624012"/>
        </a:xfrm>
        <a:prstGeom prst="rect">
          <a:avLst/>
        </a:prstGeom>
        <a:solidFill>
          <a:schemeClr val="accent4">
            <a:hueOff val="2079139"/>
            <a:satOff val="-9594"/>
            <a:lumOff val="35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 dirty="0"/>
            <a:t>Presentar en reuniones de Jefes de Salud para dar a conocer las estrategias y su importancia para la red </a:t>
          </a:r>
          <a:endParaRPr lang="es-CL" sz="1800" kern="1200" dirty="0"/>
        </a:p>
      </dsp:txBody>
      <dsp:txXfrm>
        <a:off x="4199334" y="2645"/>
        <a:ext cx="2706687" cy="1624012"/>
      </dsp:txXfrm>
    </dsp:sp>
    <dsp:sp modelId="{13EDC37C-1DBA-4FFE-B129-BD33119A4F67}">
      <dsp:nvSpPr>
        <dsp:cNvPr id="0" name=""/>
        <dsp:cNvSpPr/>
      </dsp:nvSpPr>
      <dsp:spPr>
        <a:xfrm>
          <a:off x="1221978" y="1897327"/>
          <a:ext cx="2706687" cy="1624012"/>
        </a:xfrm>
        <a:prstGeom prst="rect">
          <a:avLst/>
        </a:prstGeom>
        <a:solidFill>
          <a:schemeClr val="accent4">
            <a:hueOff val="4158277"/>
            <a:satOff val="-19187"/>
            <a:lumOff val="70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 dirty="0"/>
            <a:t>Fortalecer la imagen del Referente de Salud Digital en cada establecimiento </a:t>
          </a:r>
          <a:endParaRPr lang="es-CL" sz="1800" kern="1200" dirty="0"/>
        </a:p>
      </dsp:txBody>
      <dsp:txXfrm>
        <a:off x="1221978" y="1897327"/>
        <a:ext cx="2706687" cy="1624012"/>
      </dsp:txXfrm>
    </dsp:sp>
    <dsp:sp modelId="{3575FC16-2740-479E-B7A4-763EA8DAA155}">
      <dsp:nvSpPr>
        <dsp:cNvPr id="0" name=""/>
        <dsp:cNvSpPr/>
      </dsp:nvSpPr>
      <dsp:spPr>
        <a:xfrm>
          <a:off x="4199334" y="1897327"/>
          <a:ext cx="2706687" cy="1624012"/>
        </a:xfrm>
        <a:prstGeom prst="rect">
          <a:avLst/>
        </a:prstGeom>
        <a:solidFill>
          <a:schemeClr val="accent4">
            <a:hueOff val="6237415"/>
            <a:satOff val="-28781"/>
            <a:lumOff val="10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 dirty="0"/>
            <a:t>Entregar lineamientos ministeriales a los establecimientos </a:t>
          </a:r>
          <a:endParaRPr lang="es-CL" sz="1800" kern="1200" dirty="0"/>
        </a:p>
      </dsp:txBody>
      <dsp:txXfrm>
        <a:off x="4199334" y="1897327"/>
        <a:ext cx="2706687" cy="1624012"/>
      </dsp:txXfrm>
    </dsp:sp>
    <dsp:sp modelId="{D85F8DCB-2618-4802-9321-03BB1B1FBE0F}">
      <dsp:nvSpPr>
        <dsp:cNvPr id="0" name=""/>
        <dsp:cNvSpPr/>
      </dsp:nvSpPr>
      <dsp:spPr>
        <a:xfrm>
          <a:off x="1221978" y="3792008"/>
          <a:ext cx="2706687" cy="1624012"/>
        </a:xfrm>
        <a:prstGeom prst="rect">
          <a:avLst/>
        </a:prstGeom>
        <a:solidFill>
          <a:schemeClr val="accent4">
            <a:hueOff val="8316554"/>
            <a:satOff val="-38374"/>
            <a:lumOff val="141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 dirty="0"/>
            <a:t>Participar en reunión de Referentes para aclarar dudas y retroalimentar sobre el avance de las estrategias</a:t>
          </a:r>
          <a:endParaRPr lang="es-CL" sz="1800" kern="1200" dirty="0"/>
        </a:p>
      </dsp:txBody>
      <dsp:txXfrm>
        <a:off x="1221978" y="3792008"/>
        <a:ext cx="2706687" cy="1624012"/>
      </dsp:txXfrm>
    </dsp:sp>
    <dsp:sp modelId="{D64654AA-5CBE-4D49-9B34-1A2ED5485EDE}">
      <dsp:nvSpPr>
        <dsp:cNvPr id="0" name=""/>
        <dsp:cNvSpPr/>
      </dsp:nvSpPr>
      <dsp:spPr>
        <a:xfrm>
          <a:off x="4199334" y="3792008"/>
          <a:ext cx="2706687" cy="1624012"/>
        </a:xfrm>
        <a:prstGeom prst="rect">
          <a:avLst/>
        </a:prstGeom>
        <a:solidFill>
          <a:schemeClr val="accent4">
            <a:hueOff val="10395692"/>
            <a:satOff val="-47968"/>
            <a:lumOff val="176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800" kern="1200" dirty="0"/>
            <a:t>Programación de atenciones de telemedicina en establecimientos de APS  </a:t>
          </a:r>
          <a:endParaRPr lang="es-CL" sz="1800" kern="1200" dirty="0"/>
        </a:p>
      </dsp:txBody>
      <dsp:txXfrm>
        <a:off x="4199334" y="3792008"/>
        <a:ext cx="2706687" cy="162401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8ABFA6-4BF0-483D-94F8-C5B0E720016E}">
      <dsp:nvSpPr>
        <dsp:cNvPr id="0" name=""/>
        <dsp:cNvSpPr/>
      </dsp:nvSpPr>
      <dsp:spPr>
        <a:xfrm>
          <a:off x="4429" y="1807493"/>
          <a:ext cx="1697831" cy="54784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500" b="1" kern="1200" dirty="0"/>
            <a:t>Ley 21.541 (2023)</a:t>
          </a:r>
          <a:endParaRPr lang="es-CL" sz="1500" kern="1200" dirty="0"/>
        </a:p>
      </dsp:txBody>
      <dsp:txXfrm>
        <a:off x="4429" y="1807493"/>
        <a:ext cx="1697831" cy="547843"/>
      </dsp:txXfrm>
    </dsp:sp>
    <dsp:sp modelId="{181E8A6B-D22C-4CD5-9B1F-384686B85ABF}">
      <dsp:nvSpPr>
        <dsp:cNvPr id="0" name=""/>
        <dsp:cNvSpPr/>
      </dsp:nvSpPr>
      <dsp:spPr>
        <a:xfrm>
          <a:off x="4429" y="2355336"/>
          <a:ext cx="1697831" cy="125583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500" kern="1200"/>
            <a:t> autoriza telemedicina y modifica Ley 20.584 (derechos de pacientes).</a:t>
          </a:r>
          <a:endParaRPr lang="es-CL" sz="1500" kern="1200" dirty="0"/>
        </a:p>
      </dsp:txBody>
      <dsp:txXfrm>
        <a:off x="4429" y="2355336"/>
        <a:ext cx="1697831" cy="1255837"/>
      </dsp:txXfrm>
    </dsp:sp>
    <dsp:sp modelId="{B63C1DEA-4C43-4186-86E3-EDFBFBC0289D}">
      <dsp:nvSpPr>
        <dsp:cNvPr id="0" name=""/>
        <dsp:cNvSpPr/>
      </dsp:nvSpPr>
      <dsp:spPr>
        <a:xfrm>
          <a:off x="1939956" y="1807493"/>
          <a:ext cx="1697831" cy="54784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500" b="1" kern="1200" dirty="0"/>
            <a:t>Norma Técnica N° 237 (</a:t>
          </a:r>
          <a:r>
            <a:rPr lang="es-MX" sz="1500" b="1" kern="1200" dirty="0" err="1"/>
            <a:t>Minsal</a:t>
          </a:r>
          <a:r>
            <a:rPr lang="es-MX" sz="1500" b="1" kern="1200" dirty="0"/>
            <a:t>, 2025)</a:t>
          </a:r>
          <a:endParaRPr lang="es-MX" sz="1500" kern="1200" dirty="0"/>
        </a:p>
      </dsp:txBody>
      <dsp:txXfrm>
        <a:off x="1939956" y="1807493"/>
        <a:ext cx="1697831" cy="547843"/>
      </dsp:txXfrm>
    </dsp:sp>
    <dsp:sp modelId="{8DFAE5C8-A2F0-40AD-B5F3-90BF77EA0FF2}">
      <dsp:nvSpPr>
        <dsp:cNvPr id="0" name=""/>
        <dsp:cNvSpPr/>
      </dsp:nvSpPr>
      <dsp:spPr>
        <a:xfrm>
          <a:off x="1939956" y="2355336"/>
          <a:ext cx="1697831" cy="125583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500" kern="1200"/>
            <a:t>requisitos </a:t>
          </a:r>
          <a:r>
            <a:rPr lang="es-MX" sz="1500" kern="1200" dirty="0"/>
            <a:t>técnicos y de seguridad en atenciones digitales.</a:t>
          </a:r>
        </a:p>
      </dsp:txBody>
      <dsp:txXfrm>
        <a:off x="1939956" y="2355336"/>
        <a:ext cx="1697831" cy="1255837"/>
      </dsp:txXfrm>
    </dsp:sp>
    <dsp:sp modelId="{F2052176-CC16-4275-975A-6A2071D8F106}">
      <dsp:nvSpPr>
        <dsp:cNvPr id="0" name=""/>
        <dsp:cNvSpPr/>
      </dsp:nvSpPr>
      <dsp:spPr>
        <a:xfrm>
          <a:off x="3875484" y="1807493"/>
          <a:ext cx="1697831" cy="54784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500" b="1" kern="1200" dirty="0"/>
            <a:t>Ley 21.746 (2025):</a:t>
          </a:r>
          <a:endParaRPr lang="es-MX" sz="1500" kern="1200" dirty="0"/>
        </a:p>
      </dsp:txBody>
      <dsp:txXfrm>
        <a:off x="3875484" y="1807493"/>
        <a:ext cx="1697831" cy="547843"/>
      </dsp:txXfrm>
    </dsp:sp>
    <dsp:sp modelId="{49900775-D486-4976-ABC7-84F7F8D5F7EA}">
      <dsp:nvSpPr>
        <dsp:cNvPr id="0" name=""/>
        <dsp:cNvSpPr/>
      </dsp:nvSpPr>
      <dsp:spPr>
        <a:xfrm>
          <a:off x="3875484" y="2355336"/>
          <a:ext cx="1697831" cy="125583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500" kern="1200"/>
            <a:t>regula </a:t>
          </a:r>
          <a:r>
            <a:rPr lang="es-MX" sz="1500" kern="1200" dirty="0"/>
            <a:t>emisión de licencias médicas electrónicas.</a:t>
          </a:r>
        </a:p>
      </dsp:txBody>
      <dsp:txXfrm>
        <a:off x="3875484" y="2355336"/>
        <a:ext cx="1697831" cy="1255837"/>
      </dsp:txXfrm>
    </dsp:sp>
    <dsp:sp modelId="{B71A819A-B9F1-4195-B0D4-0C88CB5F7837}">
      <dsp:nvSpPr>
        <dsp:cNvPr id="0" name=""/>
        <dsp:cNvSpPr/>
      </dsp:nvSpPr>
      <dsp:spPr>
        <a:xfrm>
          <a:off x="5811011" y="1807493"/>
          <a:ext cx="1697831" cy="54784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500" b="1" kern="1200" dirty="0"/>
            <a:t>Norma Chilena 3858 (2024):</a:t>
          </a:r>
          <a:endParaRPr lang="es-MX" sz="1500" kern="1200" dirty="0"/>
        </a:p>
      </dsp:txBody>
      <dsp:txXfrm>
        <a:off x="5811011" y="1807493"/>
        <a:ext cx="1697831" cy="547843"/>
      </dsp:txXfrm>
    </dsp:sp>
    <dsp:sp modelId="{6F29F63E-1114-48A4-BAA9-EB626EC460CD}">
      <dsp:nvSpPr>
        <dsp:cNvPr id="0" name=""/>
        <dsp:cNvSpPr/>
      </dsp:nvSpPr>
      <dsp:spPr>
        <a:xfrm>
          <a:off x="5811011" y="2355336"/>
          <a:ext cx="1697831" cy="125583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500" kern="1200"/>
            <a:t>estándar </a:t>
          </a:r>
          <a:r>
            <a:rPr lang="es-MX" sz="1500" kern="1200" dirty="0"/>
            <a:t>de calidad en telemedicina y </a:t>
          </a:r>
          <a:r>
            <a:rPr lang="es-MX" sz="1500" kern="1200" dirty="0" err="1"/>
            <a:t>telesalud</a:t>
          </a:r>
          <a:r>
            <a:rPr lang="es-MX" sz="1500" kern="1200" dirty="0"/>
            <a:t>.</a:t>
          </a:r>
        </a:p>
      </dsp:txBody>
      <dsp:txXfrm>
        <a:off x="5811011" y="2355336"/>
        <a:ext cx="1697831" cy="1255837"/>
      </dsp:txXfrm>
    </dsp:sp>
    <dsp:sp modelId="{4696EE89-F3CD-4FE7-BE46-FE270F9AEA66}">
      <dsp:nvSpPr>
        <dsp:cNvPr id="0" name=""/>
        <dsp:cNvSpPr/>
      </dsp:nvSpPr>
      <dsp:spPr>
        <a:xfrm>
          <a:off x="7746539" y="1807493"/>
          <a:ext cx="1697831" cy="54784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500" b="1" kern="1200" dirty="0"/>
            <a:t>Circular 462 (2024):</a:t>
          </a:r>
          <a:endParaRPr lang="es-MX" sz="1500" kern="1200" dirty="0"/>
        </a:p>
      </dsp:txBody>
      <dsp:txXfrm>
        <a:off x="7746539" y="1807493"/>
        <a:ext cx="1697831" cy="547843"/>
      </dsp:txXfrm>
    </dsp:sp>
    <dsp:sp modelId="{801C869C-1A09-4BF5-AE98-74CC50962E65}">
      <dsp:nvSpPr>
        <dsp:cNvPr id="0" name=""/>
        <dsp:cNvSpPr/>
      </dsp:nvSpPr>
      <dsp:spPr>
        <a:xfrm>
          <a:off x="7746539" y="2355336"/>
          <a:ext cx="1697831" cy="125583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500" kern="1200"/>
            <a:t>telemedicina </a:t>
          </a:r>
          <a:r>
            <a:rPr lang="es-MX" sz="1500" kern="1200" dirty="0"/>
            <a:t>debe ser optativa, requiere consentimiento del paciente.</a:t>
          </a:r>
        </a:p>
      </dsp:txBody>
      <dsp:txXfrm>
        <a:off x="7746539" y="2355336"/>
        <a:ext cx="1697831" cy="12558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57FB58-E70D-4A68-91FA-CAB86FFCC15C}" type="datetimeFigureOut">
              <a:rPr lang="es-CL" smtClean="0"/>
              <a:t>15-12-2025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B57D77-A444-4B08-90FB-CAE7077DEA4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893737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14400" y="581025"/>
            <a:ext cx="5181600" cy="29146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B208DF-24DF-1C46-8C17-8757FEFE842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54718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14400" y="581025"/>
            <a:ext cx="5181600" cy="29146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B208DF-24DF-1C46-8C17-8757FEFE842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48209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B57D77-A444-4B08-90FB-CAE7077DEA4E}" type="slidenum">
              <a:rPr lang="es-CL" smtClean="0"/>
              <a:t>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664613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B57D77-A444-4B08-90FB-CAE7077DEA4E}" type="slidenum">
              <a:rPr lang="es-CL" smtClean="0"/>
              <a:t>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365795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/>
              <a:t>Verde: Bajo riesgo de progresión (si no tiene otros marcadores de enfermedad renal, no se considera ERC). Se sugiere controlar creatinina plasmática y RAC una vez al año. </a:t>
            </a:r>
          </a:p>
          <a:p>
            <a:r>
              <a:rPr lang="es-MX" dirty="0"/>
              <a:t>• Amarillo: Incremento moderado del riesgo de progresión. Se sugiere controlar creatinina plasmática y RAC una vez al año. </a:t>
            </a:r>
          </a:p>
          <a:p>
            <a:r>
              <a:rPr lang="es-MX" dirty="0"/>
              <a:t>• Naranjo: Alto riesgo de progresión. Se sugiere controlar creatinina plasmática y RAC cada seis meses. </a:t>
            </a:r>
          </a:p>
          <a:p>
            <a:r>
              <a:rPr lang="es-MX" dirty="0"/>
              <a:t>• Rojo: Muy alto riesgo de progresión. Se sugiere controlar creatinina plasmática y RAC cada cuatro meses.</a:t>
            </a:r>
          </a:p>
          <a:p>
            <a:r>
              <a:rPr lang="es-MX" dirty="0"/>
              <a:t> • Rojo oscuro: Extremadamente alto riesgo de progresión. Manejo por especialista.</a:t>
            </a:r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B57D77-A444-4B08-90FB-CAE7077DEA4E}" type="slidenum">
              <a:rPr lang="es-CL" smtClean="0"/>
              <a:t>1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944570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B57D77-A444-4B08-90FB-CAE7077DEA4E}" type="slidenum">
              <a:rPr lang="es-CL" smtClean="0"/>
              <a:t>2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29482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Relationship Id="rId4" Type="http://schemas.openxmlformats.org/officeDocument/2006/relationships/image" Target="NUL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  <p:pic>
        <p:nvPicPr>
          <p:cNvPr id="5" name="1 Imagen"/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" y="1"/>
            <a:ext cx="2221401" cy="2012244"/>
          </a:xfrm>
          <a:prstGeom prst="rect">
            <a:avLst/>
          </a:prstGeom>
        </p:spPr>
      </p:pic>
      <p:pic>
        <p:nvPicPr>
          <p:cNvPr id="6" name="Picture 16" descr="Complemento-Logo-Gobierno-160x14px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818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34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imágenes prediseñadas 9"/>
          <p:cNvSpPr>
            <a:spLocks noGrp="1"/>
          </p:cNvSpPr>
          <p:nvPr>
            <p:ph type="clipArt" sz="quarter" idx="10" hasCustomPrompt="1"/>
          </p:nvPr>
        </p:nvSpPr>
        <p:spPr>
          <a:xfrm>
            <a:off x="0" y="0"/>
            <a:ext cx="3708400" cy="6858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667">
                <a:solidFill>
                  <a:schemeClr val="bg1"/>
                </a:solidFill>
                <a:latin typeface="gobCL"/>
                <a:cs typeface="gobCL"/>
              </a:defRPr>
            </a:lvl1pPr>
          </a:lstStyle>
          <a:p>
            <a:r>
              <a:rPr lang="es-ES" dirty="0"/>
              <a:t>Imagen referencial</a:t>
            </a:r>
          </a:p>
        </p:txBody>
      </p:sp>
      <p:sp>
        <p:nvSpPr>
          <p:cNvPr id="8" name="Rectangle 7"/>
          <p:cNvSpPr/>
          <p:nvPr/>
        </p:nvSpPr>
        <p:spPr>
          <a:xfrm>
            <a:off x="124989" y="158235"/>
            <a:ext cx="35834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3200" dirty="0">
                <a:solidFill>
                  <a:schemeClr val="bg1">
                    <a:lumMod val="75000"/>
                  </a:schemeClr>
                </a:solidFill>
              </a:rPr>
              <a:t>Imagen Referencial</a:t>
            </a:r>
          </a:p>
        </p:txBody>
      </p:sp>
      <p:sp>
        <p:nvSpPr>
          <p:cNvPr id="6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</p:spTree>
    <p:extLst>
      <p:ext uri="{BB962C8B-B14F-4D97-AF65-F5344CB8AC3E}">
        <p14:creationId xmlns:p14="http://schemas.microsoft.com/office/powerpoint/2010/main" val="289414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</p:spTree>
    <p:extLst>
      <p:ext uri="{BB962C8B-B14F-4D97-AF65-F5344CB8AC3E}">
        <p14:creationId xmlns:p14="http://schemas.microsoft.com/office/powerpoint/2010/main" val="277492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</p:spTree>
    <p:extLst>
      <p:ext uri="{BB962C8B-B14F-4D97-AF65-F5344CB8AC3E}">
        <p14:creationId xmlns:p14="http://schemas.microsoft.com/office/powerpoint/2010/main" val="2830123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2"/>
          <p:cNvSpPr>
            <a:spLocks noGrp="1"/>
          </p:cNvSpPr>
          <p:nvPr>
            <p:ph idx="18" hasCustomPrompt="1"/>
          </p:nvPr>
        </p:nvSpPr>
        <p:spPr>
          <a:xfrm>
            <a:off x="4639737" y="3035301"/>
            <a:ext cx="7010399" cy="32366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aseline="0">
                <a:solidFill>
                  <a:schemeClr val="tx1">
                    <a:lumMod val="75000"/>
                  </a:schemeClr>
                </a:solidFill>
                <a:latin typeface="Verdana"/>
                <a:cs typeface="Verdana"/>
              </a:defRPr>
            </a:lvl1pPr>
            <a:lvl2pPr>
              <a:defRPr sz="2400">
                <a:solidFill>
                  <a:schemeClr val="bg1"/>
                </a:solidFill>
                <a:latin typeface="gobCL"/>
                <a:cs typeface="gobCL"/>
              </a:defRPr>
            </a:lvl2pPr>
            <a:lvl3pPr>
              <a:defRPr sz="2400">
                <a:solidFill>
                  <a:schemeClr val="bg1"/>
                </a:solidFill>
                <a:latin typeface="gobCL"/>
                <a:cs typeface="gobCL"/>
              </a:defRPr>
            </a:lvl3pPr>
          </a:lstStyle>
          <a:p>
            <a:pPr lvl="0"/>
            <a:r>
              <a:rPr lang="es-ES_tradnl" dirty="0"/>
              <a:t>Contenido de la </a:t>
            </a:r>
            <a:r>
              <a:rPr lang="es-ES_tradnl" dirty="0" err="1"/>
              <a:t>slide</a:t>
            </a:r>
            <a:r>
              <a:rPr lang="es-ES_tradnl" dirty="0"/>
              <a:t> en dos columnas de texto. </a:t>
            </a:r>
            <a:r>
              <a:rPr lang="es-ES_tradnl" dirty="0" err="1"/>
              <a:t>Verdana</a:t>
            </a:r>
            <a:r>
              <a:rPr lang="es-ES_tradnl" dirty="0"/>
              <a:t> 15pt. </a:t>
            </a:r>
          </a:p>
          <a:p>
            <a:pPr lvl="0"/>
            <a:endParaRPr lang="es-ES_tradnl" dirty="0"/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s-ES_tradnl" dirty="0"/>
              <a:t>Texto texto texto texto texto texto texto texto texto texto texto texto texto texto texto.</a:t>
            </a:r>
          </a:p>
          <a:p>
            <a:pPr lvl="0"/>
            <a:r>
              <a:rPr lang="es-ES_tradnl" dirty="0"/>
              <a:t> </a:t>
            </a:r>
          </a:p>
        </p:txBody>
      </p:sp>
      <p:sp>
        <p:nvSpPr>
          <p:cNvPr id="7" name="Marcador de contenido 12"/>
          <p:cNvSpPr>
            <a:spLocks noGrp="1"/>
          </p:cNvSpPr>
          <p:nvPr>
            <p:ph sz="quarter" idx="12" hasCustomPrompt="1"/>
          </p:nvPr>
        </p:nvSpPr>
        <p:spPr>
          <a:xfrm>
            <a:off x="4639733" y="1066801"/>
            <a:ext cx="7010400" cy="990600"/>
          </a:xfrm>
          <a:prstGeom prst="rect">
            <a:avLst/>
          </a:prstGeom>
        </p:spPr>
        <p:txBody>
          <a:bodyPr vert="horz"/>
          <a:lstStyle>
            <a:lvl1pPr marL="0" marR="0" indent="0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 b="1" i="0" spc="0">
                <a:solidFill>
                  <a:schemeClr val="accent1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Titulo del capítulo/tema de la </a:t>
            </a:r>
            <a:r>
              <a:rPr lang="es-ES" dirty="0" err="1"/>
              <a:t>diapo</a:t>
            </a:r>
            <a:r>
              <a:rPr lang="es-ES" dirty="0"/>
              <a:t>. en máx. dos líneas. </a:t>
            </a:r>
            <a:r>
              <a:rPr lang="es-ES" dirty="0" err="1"/>
              <a:t>Verdana</a:t>
            </a:r>
            <a:r>
              <a:rPr lang="es-ES" dirty="0"/>
              <a:t> Negrita 20pt:</a:t>
            </a:r>
          </a:p>
          <a:p>
            <a:pPr lvl="0"/>
            <a:endParaRPr lang="es-ES" dirty="0"/>
          </a:p>
        </p:txBody>
      </p:sp>
      <p:sp>
        <p:nvSpPr>
          <p:cNvPr id="8" name="Marcador de contenido 12"/>
          <p:cNvSpPr>
            <a:spLocks noGrp="1"/>
          </p:cNvSpPr>
          <p:nvPr>
            <p:ph sz="quarter" idx="13" hasCustomPrompt="1"/>
          </p:nvPr>
        </p:nvSpPr>
        <p:spPr>
          <a:xfrm>
            <a:off x="4639733" y="2184402"/>
            <a:ext cx="7010400" cy="723900"/>
          </a:xfrm>
          <a:prstGeom prst="rect">
            <a:avLst/>
          </a:prstGeom>
        </p:spPr>
        <p:txBody>
          <a:bodyPr vert="horz"/>
          <a:lstStyle>
            <a:lvl1pPr marL="0" marR="0" indent="0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0" i="0" spc="0">
                <a:solidFill>
                  <a:srgbClr val="4F81BD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(Línea adicional) Subtema </a:t>
            </a:r>
            <a:r>
              <a:rPr lang="es-ES" dirty="0" err="1"/>
              <a:t>Verdana</a:t>
            </a:r>
            <a:r>
              <a:rPr lang="es-ES" dirty="0"/>
              <a:t> 18pt</a:t>
            </a:r>
          </a:p>
          <a:p>
            <a:pPr lvl="0"/>
            <a:endParaRPr lang="es-ES" dirty="0"/>
          </a:p>
        </p:txBody>
      </p:sp>
      <p:sp>
        <p:nvSpPr>
          <p:cNvPr id="2" name="CuadroTexto 1"/>
          <p:cNvSpPr txBox="1"/>
          <p:nvPr/>
        </p:nvSpPr>
        <p:spPr>
          <a:xfrm>
            <a:off x="11592318" y="6415394"/>
            <a:ext cx="38985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F0D743BD-13B2-8146-8C09-0F6A22AE68B5}" type="slidenum">
              <a:rPr lang="es-ES" sz="1067" smtClean="0">
                <a:solidFill>
                  <a:schemeClr val="tx1">
                    <a:lumMod val="65000"/>
                    <a:lumOff val="35000"/>
                  </a:schemeClr>
                </a:solidFill>
                <a:latin typeface="Candara"/>
                <a:cs typeface="Candara"/>
              </a:rPr>
              <a:pPr algn="r"/>
              <a:t>‹Nº›</a:t>
            </a:fld>
            <a:endParaRPr lang="es-ES" sz="1067" dirty="0">
              <a:solidFill>
                <a:schemeClr val="tx1">
                  <a:lumMod val="65000"/>
                  <a:lumOff val="35000"/>
                </a:schemeClr>
              </a:solidFill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63519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  <p:pic>
        <p:nvPicPr>
          <p:cNvPr id="5" name="1 Imagen"/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" y="1"/>
            <a:ext cx="2221401" cy="2012244"/>
          </a:xfrm>
          <a:prstGeom prst="rect">
            <a:avLst/>
          </a:prstGeom>
        </p:spPr>
      </p:pic>
      <p:pic>
        <p:nvPicPr>
          <p:cNvPr id="6" name="Picture 16" descr="Complemento-Logo-Gobierno-160x14px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818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71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5E10838F-9F77-44FD-A9AF-8F7B74B74566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2770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5E10838F-9F77-44FD-A9AF-8F7B74B74566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5131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/>
          <p:nvPr/>
        </p:nvSpPr>
        <p:spPr>
          <a:xfrm rot="10800000">
            <a:off x="10351098" y="0"/>
            <a:ext cx="1840903" cy="6858000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ight Triangle 7"/>
          <p:cNvSpPr/>
          <p:nvPr/>
        </p:nvSpPr>
        <p:spPr>
          <a:xfrm>
            <a:off x="1" y="0"/>
            <a:ext cx="1840903" cy="6858000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Rectangle 12"/>
          <p:cNvSpPr/>
          <p:nvPr/>
        </p:nvSpPr>
        <p:spPr>
          <a:xfrm>
            <a:off x="1840904" y="1316765"/>
            <a:ext cx="9727705" cy="49925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" name="Picture 2" descr="G:\002-KIMS BUSINESS\007-02-Googleslidesppt\02-GSppt-Contents-Kim\20170429\06-\item01.png"/>
          <p:cNvPicPr>
            <a:picLocks noChangeAspect="1" noChangeArrowheads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15" y="975128"/>
            <a:ext cx="2622557" cy="2255312"/>
          </a:xfrm>
          <a:prstGeom prst="rect">
            <a:avLst/>
          </a:prstGeom>
          <a:noFill/>
          <a:scene3d>
            <a:camera prst="orthographicFront">
              <a:rot lat="0" lon="0" rev="60000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428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8" y="2582490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800" b="1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8" y="3623722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0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  <p:pic>
        <p:nvPicPr>
          <p:cNvPr id="2" name="1 Imagen"/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" y="0"/>
            <a:ext cx="2691853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96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omplemento-Logo-Gobierno-160x14px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8" y="0"/>
            <a:ext cx="2709333" cy="177800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>
          <a:xfrm>
            <a:off x="11397765" y="6475874"/>
            <a:ext cx="3738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F0D743BD-13B2-8146-8C09-0F6A22AE68B5}" type="slidenum">
              <a:rPr lang="es-ES" sz="1000" smtClean="0">
                <a:solidFill>
                  <a:schemeClr val="tx1">
                    <a:lumMod val="65000"/>
                    <a:lumOff val="35000"/>
                  </a:schemeClr>
                </a:solidFill>
                <a:latin typeface="Candara"/>
                <a:cs typeface="Candara"/>
              </a:rPr>
              <a:pPr algn="r"/>
              <a:t>‹Nº›</a:t>
            </a:fld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80874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9880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9D71D49-755E-403F-8EA6-8D692C6F73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19D71D49-755E-403F-8EA6-8D692C6F73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69658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101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9072033" y="6527801"/>
            <a:ext cx="2844800" cy="1936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s-CL" dirty="0"/>
          </a:p>
        </p:txBody>
      </p:sp>
    </p:spTree>
    <p:extLst>
      <p:ext uri="{BB962C8B-B14F-4D97-AF65-F5344CB8AC3E}">
        <p14:creationId xmlns:p14="http://schemas.microsoft.com/office/powerpoint/2010/main" val="2996704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4944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5E10838F-9F77-44FD-A9AF-8F7B74B74566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/>
        </p:nvSpPr>
        <p:spPr>
          <a:xfrm>
            <a:off x="411178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3004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  <p:pic>
        <p:nvPicPr>
          <p:cNvPr id="5" name="1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" y="1"/>
            <a:ext cx="2221401" cy="2012244"/>
          </a:xfrm>
          <a:prstGeom prst="rect">
            <a:avLst/>
          </a:prstGeom>
        </p:spPr>
      </p:pic>
      <p:pic>
        <p:nvPicPr>
          <p:cNvPr id="6" name="Picture 16" descr="Complemento-Logo-Gobierno-160x14px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818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700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5392E52-E1FE-4900-BA83-F4AE615AF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  <p:cxnSp>
        <p:nvCxnSpPr>
          <p:cNvPr id="12" name="10 Conector recto">
            <a:extLst>
              <a:ext uri="{FF2B5EF4-FFF2-40B4-BE49-F238E27FC236}">
                <a16:creationId xmlns:a16="http://schemas.microsoft.com/office/drawing/2014/main" id="{D55F10C3-F4EF-4F9E-8307-03F50DA827B8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246E96C5-6012-4E20-8D5C-6238BCEAD415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  <p:cxnSp>
        <p:nvCxnSpPr>
          <p:cNvPr id="5" name="10 Conector recto">
            <a:extLst>
              <a:ext uri="{FF2B5EF4-FFF2-40B4-BE49-F238E27FC236}">
                <a16:creationId xmlns:a16="http://schemas.microsoft.com/office/drawing/2014/main" id="{680D1C93-122D-437B-8CBD-637856DBD44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B047A462-51C9-45AD-8BAA-DA748549C572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5778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/>
          <p:nvPr/>
        </p:nvSpPr>
        <p:spPr>
          <a:xfrm rot="10800000">
            <a:off x="10351098" y="0"/>
            <a:ext cx="1840903" cy="6858000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ight Triangle 7"/>
          <p:cNvSpPr/>
          <p:nvPr/>
        </p:nvSpPr>
        <p:spPr>
          <a:xfrm>
            <a:off x="1" y="0"/>
            <a:ext cx="1840903" cy="6858000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Rectangle 12"/>
          <p:cNvSpPr/>
          <p:nvPr/>
        </p:nvSpPr>
        <p:spPr>
          <a:xfrm>
            <a:off x="1840904" y="1316765"/>
            <a:ext cx="9727705" cy="49925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" name="Picture 2" descr="G:\002-KIMS BUSINESS\007-02-Googleslidesppt\02-GSppt-Contents-Kim\20170429\06-\item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15" y="975128"/>
            <a:ext cx="2622557" cy="2255312"/>
          </a:xfrm>
          <a:prstGeom prst="rect">
            <a:avLst/>
          </a:prstGeom>
          <a:noFill/>
          <a:scene3d>
            <a:camera prst="orthographicFront">
              <a:rot lat="0" lon="0" rev="60000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385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5392E52-E1FE-4900-BA83-F4AE615AF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  <p:cxnSp>
        <p:nvCxnSpPr>
          <p:cNvPr id="12" name="10 Conector recto">
            <a:extLst>
              <a:ext uri="{FF2B5EF4-FFF2-40B4-BE49-F238E27FC236}">
                <a16:creationId xmlns:a16="http://schemas.microsoft.com/office/drawing/2014/main" id="{D55F10C3-F4EF-4F9E-8307-03F50DA827B8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246E96C5-6012-4E20-8D5C-6238BCEAD415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4006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F9CE58-B858-4E85-9551-D4DD44FDB6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87A26C2-455C-4FB6-B756-71140D2E44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AC1FFB5-6EAC-423C-9026-3723DE2AA5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B04E2-28A5-4BB9-8677-15A14190096B}" type="datetimeFigureOut">
              <a:rPr lang="es-CL" smtClean="0"/>
              <a:t>15-1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5919428-AA54-4711-A28D-269F3DDE7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9E26FEB-7E00-4FA8-B28E-77CD11792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5B0A1-1966-43C7-B4B9-DE25E59F6C6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93317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5392E52-E1FE-4900-BA83-F4AE615AF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  <p:cxnSp>
        <p:nvCxnSpPr>
          <p:cNvPr id="12" name="10 Conector recto">
            <a:extLst>
              <a:ext uri="{FF2B5EF4-FFF2-40B4-BE49-F238E27FC236}">
                <a16:creationId xmlns:a16="http://schemas.microsoft.com/office/drawing/2014/main" id="{D55F10C3-F4EF-4F9E-8307-03F50DA827B8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246E96C5-6012-4E20-8D5C-6238BCEAD415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  <p:cxnSp>
        <p:nvCxnSpPr>
          <p:cNvPr id="5" name="10 Conector recto">
            <a:extLst>
              <a:ext uri="{FF2B5EF4-FFF2-40B4-BE49-F238E27FC236}">
                <a16:creationId xmlns:a16="http://schemas.microsoft.com/office/drawing/2014/main" id="{680D1C93-122D-437B-8CBD-637856DBD44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B047A462-51C9-45AD-8BAA-DA748549C572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187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graphicFrame>
        <p:nvGraphicFramePr>
          <p:cNvPr id="6" name="Objeto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1" dirty="0">
              <a:solidFill>
                <a:srgbClr val="FFFFFF"/>
              </a:solidFill>
              <a:sym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4827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  <p:pic>
        <p:nvPicPr>
          <p:cNvPr id="5" name="1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" y="1"/>
            <a:ext cx="2221401" cy="2012244"/>
          </a:xfrm>
          <a:prstGeom prst="rect">
            <a:avLst/>
          </a:prstGeom>
        </p:spPr>
      </p:pic>
      <p:pic>
        <p:nvPicPr>
          <p:cNvPr id="6" name="Picture 16" descr="Complemento-Logo-Gobierno-160x14px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818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92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imágenes prediseñadas 9"/>
          <p:cNvSpPr>
            <a:spLocks noGrp="1"/>
          </p:cNvSpPr>
          <p:nvPr>
            <p:ph type="clipArt" sz="quarter" idx="10" hasCustomPrompt="1"/>
          </p:nvPr>
        </p:nvSpPr>
        <p:spPr>
          <a:xfrm>
            <a:off x="0" y="0"/>
            <a:ext cx="3708400" cy="6858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667">
                <a:solidFill>
                  <a:schemeClr val="bg1"/>
                </a:solidFill>
                <a:latin typeface="gobCL"/>
                <a:cs typeface="gobCL"/>
              </a:defRPr>
            </a:lvl1pPr>
          </a:lstStyle>
          <a:p>
            <a:r>
              <a:rPr lang="es-ES" dirty="0"/>
              <a:t>Imagen referencial</a:t>
            </a:r>
          </a:p>
        </p:txBody>
      </p:sp>
      <p:sp>
        <p:nvSpPr>
          <p:cNvPr id="8" name="Rectangle 7"/>
          <p:cNvSpPr/>
          <p:nvPr/>
        </p:nvSpPr>
        <p:spPr>
          <a:xfrm>
            <a:off x="124989" y="158235"/>
            <a:ext cx="35834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3200" dirty="0">
                <a:solidFill>
                  <a:schemeClr val="bg1">
                    <a:lumMod val="75000"/>
                  </a:schemeClr>
                </a:solidFill>
              </a:rPr>
              <a:t>Imagen Referencia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</p:spTree>
    <p:extLst>
      <p:ext uri="{BB962C8B-B14F-4D97-AF65-F5344CB8AC3E}">
        <p14:creationId xmlns:p14="http://schemas.microsoft.com/office/powerpoint/2010/main" val="385464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imágenes prediseñadas 9"/>
          <p:cNvSpPr>
            <a:spLocks noGrp="1"/>
          </p:cNvSpPr>
          <p:nvPr>
            <p:ph type="clipArt" sz="quarter" idx="10" hasCustomPrompt="1"/>
          </p:nvPr>
        </p:nvSpPr>
        <p:spPr>
          <a:xfrm>
            <a:off x="0" y="0"/>
            <a:ext cx="3708400" cy="6858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667">
                <a:solidFill>
                  <a:schemeClr val="bg1"/>
                </a:solidFill>
                <a:latin typeface="gobCL"/>
                <a:cs typeface="gobCL"/>
              </a:defRPr>
            </a:lvl1pPr>
          </a:lstStyle>
          <a:p>
            <a:r>
              <a:rPr lang="es-ES" dirty="0"/>
              <a:t>Imagen referencial</a:t>
            </a:r>
          </a:p>
        </p:txBody>
      </p:sp>
      <p:sp>
        <p:nvSpPr>
          <p:cNvPr id="8" name="Rectangle 7"/>
          <p:cNvSpPr/>
          <p:nvPr/>
        </p:nvSpPr>
        <p:spPr>
          <a:xfrm>
            <a:off x="124989" y="158235"/>
            <a:ext cx="35834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3200" dirty="0">
                <a:solidFill>
                  <a:schemeClr val="bg1">
                    <a:lumMod val="75000"/>
                  </a:schemeClr>
                </a:solidFill>
              </a:rPr>
              <a:t>Imagen Referencial</a:t>
            </a:r>
          </a:p>
        </p:txBody>
      </p:sp>
      <p:sp>
        <p:nvSpPr>
          <p:cNvPr id="6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</p:spTree>
    <p:extLst>
      <p:ext uri="{BB962C8B-B14F-4D97-AF65-F5344CB8AC3E}">
        <p14:creationId xmlns:p14="http://schemas.microsoft.com/office/powerpoint/2010/main" val="522434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</p:spTree>
    <p:extLst>
      <p:ext uri="{BB962C8B-B14F-4D97-AF65-F5344CB8AC3E}">
        <p14:creationId xmlns:p14="http://schemas.microsoft.com/office/powerpoint/2010/main" val="3072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</p:spTree>
    <p:extLst>
      <p:ext uri="{BB962C8B-B14F-4D97-AF65-F5344CB8AC3E}">
        <p14:creationId xmlns:p14="http://schemas.microsoft.com/office/powerpoint/2010/main" val="1038878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2"/>
          <p:cNvSpPr>
            <a:spLocks noGrp="1"/>
          </p:cNvSpPr>
          <p:nvPr>
            <p:ph idx="18" hasCustomPrompt="1"/>
          </p:nvPr>
        </p:nvSpPr>
        <p:spPr>
          <a:xfrm>
            <a:off x="4639737" y="3035301"/>
            <a:ext cx="7010399" cy="32366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aseline="0">
                <a:solidFill>
                  <a:schemeClr val="tx1">
                    <a:lumMod val="75000"/>
                  </a:schemeClr>
                </a:solidFill>
                <a:latin typeface="Verdana"/>
                <a:cs typeface="Verdana"/>
              </a:defRPr>
            </a:lvl1pPr>
            <a:lvl2pPr>
              <a:defRPr sz="2400">
                <a:solidFill>
                  <a:schemeClr val="bg1"/>
                </a:solidFill>
                <a:latin typeface="gobCL"/>
                <a:cs typeface="gobCL"/>
              </a:defRPr>
            </a:lvl2pPr>
            <a:lvl3pPr>
              <a:defRPr sz="2400">
                <a:solidFill>
                  <a:schemeClr val="bg1"/>
                </a:solidFill>
                <a:latin typeface="gobCL"/>
                <a:cs typeface="gobCL"/>
              </a:defRPr>
            </a:lvl3pPr>
          </a:lstStyle>
          <a:p>
            <a:pPr lvl="0"/>
            <a:r>
              <a:rPr lang="es-ES_tradnl" dirty="0"/>
              <a:t>Contenido de la </a:t>
            </a:r>
            <a:r>
              <a:rPr lang="es-ES_tradnl" dirty="0" err="1"/>
              <a:t>slide</a:t>
            </a:r>
            <a:r>
              <a:rPr lang="es-ES_tradnl" dirty="0"/>
              <a:t> en dos columnas de texto. </a:t>
            </a:r>
            <a:r>
              <a:rPr lang="es-ES_tradnl" dirty="0" err="1"/>
              <a:t>Verdana</a:t>
            </a:r>
            <a:r>
              <a:rPr lang="es-ES_tradnl" dirty="0"/>
              <a:t> 15pt. </a:t>
            </a:r>
          </a:p>
          <a:p>
            <a:pPr lvl="0"/>
            <a:endParaRPr lang="es-ES_tradnl" dirty="0"/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s-ES_tradnl" dirty="0"/>
              <a:t>Texto texto texto texto texto texto texto texto texto texto texto texto texto texto texto.</a:t>
            </a:r>
          </a:p>
          <a:p>
            <a:pPr lvl="0"/>
            <a:r>
              <a:rPr lang="es-ES_tradnl" dirty="0"/>
              <a:t> </a:t>
            </a:r>
          </a:p>
        </p:txBody>
      </p:sp>
      <p:sp>
        <p:nvSpPr>
          <p:cNvPr id="7" name="Marcador de contenido 12"/>
          <p:cNvSpPr>
            <a:spLocks noGrp="1"/>
          </p:cNvSpPr>
          <p:nvPr>
            <p:ph sz="quarter" idx="12" hasCustomPrompt="1"/>
          </p:nvPr>
        </p:nvSpPr>
        <p:spPr>
          <a:xfrm>
            <a:off x="4639733" y="1066801"/>
            <a:ext cx="7010400" cy="990600"/>
          </a:xfrm>
          <a:prstGeom prst="rect">
            <a:avLst/>
          </a:prstGeom>
        </p:spPr>
        <p:txBody>
          <a:bodyPr vert="horz"/>
          <a:lstStyle>
            <a:lvl1pPr marL="0" marR="0" indent="0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 b="1" i="0" spc="0">
                <a:solidFill>
                  <a:schemeClr val="accent1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Titulo del capítulo/tema de la </a:t>
            </a:r>
            <a:r>
              <a:rPr lang="es-ES" dirty="0" err="1"/>
              <a:t>diapo</a:t>
            </a:r>
            <a:r>
              <a:rPr lang="es-ES" dirty="0"/>
              <a:t>. en máx. dos líneas. </a:t>
            </a:r>
            <a:r>
              <a:rPr lang="es-ES" dirty="0" err="1"/>
              <a:t>Verdana</a:t>
            </a:r>
            <a:r>
              <a:rPr lang="es-ES" dirty="0"/>
              <a:t> Negrita 20pt:</a:t>
            </a:r>
          </a:p>
          <a:p>
            <a:pPr lvl="0"/>
            <a:endParaRPr lang="es-ES" dirty="0"/>
          </a:p>
        </p:txBody>
      </p:sp>
      <p:sp>
        <p:nvSpPr>
          <p:cNvPr id="8" name="Marcador de contenido 12"/>
          <p:cNvSpPr>
            <a:spLocks noGrp="1"/>
          </p:cNvSpPr>
          <p:nvPr>
            <p:ph sz="quarter" idx="13" hasCustomPrompt="1"/>
          </p:nvPr>
        </p:nvSpPr>
        <p:spPr>
          <a:xfrm>
            <a:off x="4639733" y="2184402"/>
            <a:ext cx="7010400" cy="723900"/>
          </a:xfrm>
          <a:prstGeom prst="rect">
            <a:avLst/>
          </a:prstGeom>
        </p:spPr>
        <p:txBody>
          <a:bodyPr vert="horz"/>
          <a:lstStyle>
            <a:lvl1pPr marL="0" marR="0" indent="0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0" i="0" spc="0">
                <a:solidFill>
                  <a:srgbClr val="4F81BD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(Línea adicional) Subtema </a:t>
            </a:r>
            <a:r>
              <a:rPr lang="es-ES" dirty="0" err="1"/>
              <a:t>Verdana</a:t>
            </a:r>
            <a:r>
              <a:rPr lang="es-ES" dirty="0"/>
              <a:t> 18pt</a:t>
            </a:r>
          </a:p>
          <a:p>
            <a:pPr lvl="0"/>
            <a:endParaRPr lang="es-ES" dirty="0"/>
          </a:p>
        </p:txBody>
      </p:sp>
      <p:sp>
        <p:nvSpPr>
          <p:cNvPr id="2" name="CuadroTexto 1"/>
          <p:cNvSpPr txBox="1"/>
          <p:nvPr/>
        </p:nvSpPr>
        <p:spPr>
          <a:xfrm>
            <a:off x="11592318" y="6415394"/>
            <a:ext cx="38985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F0D743BD-13B2-8146-8C09-0F6A22AE68B5}" type="slidenum">
              <a:rPr lang="es-ES" sz="1067" smtClean="0">
                <a:solidFill>
                  <a:schemeClr val="tx1">
                    <a:lumMod val="65000"/>
                    <a:lumOff val="35000"/>
                  </a:schemeClr>
                </a:solidFill>
                <a:latin typeface="Candara"/>
                <a:cs typeface="Candara"/>
              </a:rPr>
              <a:pPr algn="r"/>
              <a:t>‹Nº›</a:t>
            </a:fld>
            <a:endParaRPr lang="es-ES" sz="1067" dirty="0">
              <a:solidFill>
                <a:schemeClr val="tx1">
                  <a:lumMod val="65000"/>
                  <a:lumOff val="35000"/>
                </a:schemeClr>
              </a:solidFill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58567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  <p:pic>
        <p:nvPicPr>
          <p:cNvPr id="5" name="1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" y="1"/>
            <a:ext cx="2221401" cy="2012244"/>
          </a:xfrm>
          <a:prstGeom prst="rect">
            <a:avLst/>
          </a:prstGeom>
        </p:spPr>
      </p:pic>
      <p:pic>
        <p:nvPicPr>
          <p:cNvPr id="6" name="Picture 16" descr="Complemento-Logo-Gobierno-160x14px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818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19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5E10838F-9F77-44FD-A9AF-8F7B74B74566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1107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5E10838F-9F77-44FD-A9AF-8F7B74B74566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58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2364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/>
          <p:nvPr/>
        </p:nvSpPr>
        <p:spPr>
          <a:xfrm rot="10800000">
            <a:off x="10351098" y="0"/>
            <a:ext cx="1840903" cy="6858000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ight Triangle 7"/>
          <p:cNvSpPr/>
          <p:nvPr/>
        </p:nvSpPr>
        <p:spPr>
          <a:xfrm>
            <a:off x="1" y="0"/>
            <a:ext cx="1840903" cy="6858000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Rectangle 12"/>
          <p:cNvSpPr/>
          <p:nvPr/>
        </p:nvSpPr>
        <p:spPr>
          <a:xfrm>
            <a:off x="1840904" y="1316765"/>
            <a:ext cx="9727705" cy="49925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" name="Picture 2" descr="G:\002-KIMS BUSINESS\007-02-Googleslidesppt\02-GSppt-Contents-Kim\20170429\06-\item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15" y="975128"/>
            <a:ext cx="2622557" cy="2255312"/>
          </a:xfrm>
          <a:prstGeom prst="rect">
            <a:avLst/>
          </a:prstGeom>
          <a:noFill/>
          <a:scene3d>
            <a:camera prst="orthographicFront">
              <a:rot lat="0" lon="0" rev="60000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810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8" y="2582490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800" b="1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8" y="3623722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0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  <p:pic>
        <p:nvPicPr>
          <p:cNvPr id="2" name="1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" y="0"/>
            <a:ext cx="2691853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5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omplemento-Logo-Gobierno-160x14px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8" y="0"/>
            <a:ext cx="2709333" cy="177800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>
          <a:xfrm>
            <a:off x="11397765" y="6475874"/>
            <a:ext cx="3738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F0D743BD-13B2-8146-8C09-0F6A22AE68B5}" type="slidenum">
              <a:rPr lang="es-ES" sz="1000" smtClean="0">
                <a:solidFill>
                  <a:schemeClr val="tx1">
                    <a:lumMod val="65000"/>
                    <a:lumOff val="35000"/>
                  </a:schemeClr>
                </a:solidFill>
                <a:latin typeface="Candara"/>
                <a:cs typeface="Candara"/>
              </a:rPr>
              <a:pPr algn="r"/>
              <a:t>‹Nº›</a:t>
            </a:fld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629469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9D71D49-755E-403F-8EA6-8D692C6F73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19D71D49-755E-403F-8EA6-8D692C6F73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6490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116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9072033" y="6527801"/>
            <a:ext cx="2844800" cy="1936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s-CL" dirty="0"/>
          </a:p>
        </p:txBody>
      </p:sp>
    </p:spTree>
    <p:extLst>
      <p:ext uri="{BB962C8B-B14F-4D97-AF65-F5344CB8AC3E}">
        <p14:creationId xmlns:p14="http://schemas.microsoft.com/office/powerpoint/2010/main" val="67121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941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5E10838F-9F77-44FD-A9AF-8F7B74B74566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/>
        </p:nvSpPr>
        <p:spPr>
          <a:xfrm>
            <a:off x="411178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6434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  <p:pic>
        <p:nvPicPr>
          <p:cNvPr id="5" name="1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" y="1"/>
            <a:ext cx="2221401" cy="2012244"/>
          </a:xfrm>
          <a:prstGeom prst="rect">
            <a:avLst/>
          </a:prstGeom>
        </p:spPr>
      </p:pic>
      <p:pic>
        <p:nvPicPr>
          <p:cNvPr id="6" name="Picture 16" descr="Complemento-Logo-Gobierno-160x14px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818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64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5E10838F-9F77-44FD-A9AF-8F7B74B74566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 userDrawn="1"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 userDrawn="1"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402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/>
          <p:nvPr/>
        </p:nvSpPr>
        <p:spPr>
          <a:xfrm rot="10800000">
            <a:off x="10351098" y="0"/>
            <a:ext cx="1840903" cy="6858000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ight Triangle 7"/>
          <p:cNvSpPr/>
          <p:nvPr/>
        </p:nvSpPr>
        <p:spPr>
          <a:xfrm>
            <a:off x="1" y="0"/>
            <a:ext cx="1840903" cy="6858000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Rectangle 12"/>
          <p:cNvSpPr/>
          <p:nvPr/>
        </p:nvSpPr>
        <p:spPr>
          <a:xfrm>
            <a:off x="1840904" y="1316765"/>
            <a:ext cx="9727705" cy="49925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" name="Picture 2" descr="G:\002-KIMS BUSINESS\007-02-Googleslidesppt\02-GSppt-Contents-Kim\20170429\06-\item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15" y="975128"/>
            <a:ext cx="2622557" cy="2255312"/>
          </a:xfrm>
          <a:prstGeom prst="rect">
            <a:avLst/>
          </a:prstGeom>
          <a:noFill/>
          <a:scene3d>
            <a:camera prst="orthographicFront">
              <a:rot lat="0" lon="0" rev="60000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195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5392E52-E1FE-4900-BA83-F4AE615AF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5E10838F-9F77-44FD-A9AF-8F7B74B74566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12" name="10 Conector recto">
            <a:extLst>
              <a:ext uri="{FF2B5EF4-FFF2-40B4-BE49-F238E27FC236}">
                <a16:creationId xmlns:a16="http://schemas.microsoft.com/office/drawing/2014/main" id="{D55F10C3-F4EF-4F9E-8307-03F50DA827B8}"/>
              </a:ext>
            </a:extLst>
          </p:cNvPr>
          <p:cNvCxnSpPr/>
          <p:nvPr userDrawn="1"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246E96C5-6012-4E20-8D5C-6238BCEAD415}"/>
              </a:ext>
            </a:extLst>
          </p:cNvPr>
          <p:cNvSpPr txBox="1">
            <a:spLocks/>
          </p:cNvSpPr>
          <p:nvPr userDrawn="1"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7040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2"/>
          <p:cNvSpPr>
            <a:spLocks noGrp="1"/>
          </p:cNvSpPr>
          <p:nvPr>
            <p:ph idx="18" hasCustomPrompt="1"/>
          </p:nvPr>
        </p:nvSpPr>
        <p:spPr>
          <a:xfrm>
            <a:off x="4639735" y="3035300"/>
            <a:ext cx="7010399" cy="32366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aseline="0">
                <a:solidFill>
                  <a:schemeClr val="tx1">
                    <a:lumMod val="75000"/>
                  </a:schemeClr>
                </a:solidFill>
                <a:latin typeface="Verdana"/>
                <a:cs typeface="Verdana"/>
              </a:defRPr>
            </a:lvl1pPr>
            <a:lvl2pPr>
              <a:defRPr sz="2400">
                <a:solidFill>
                  <a:schemeClr val="bg1"/>
                </a:solidFill>
                <a:latin typeface="gobCL"/>
                <a:cs typeface="gobCL"/>
              </a:defRPr>
            </a:lvl2pPr>
            <a:lvl3pPr>
              <a:defRPr sz="2400">
                <a:solidFill>
                  <a:schemeClr val="bg1"/>
                </a:solidFill>
                <a:latin typeface="gobCL"/>
                <a:cs typeface="gobCL"/>
              </a:defRPr>
            </a:lvl3pPr>
          </a:lstStyle>
          <a:p>
            <a:pPr lvl="0"/>
            <a:r>
              <a:rPr lang="es-ES_tradnl" dirty="0"/>
              <a:t>Contenido de la </a:t>
            </a:r>
            <a:r>
              <a:rPr lang="es-ES_tradnl" dirty="0" err="1"/>
              <a:t>slide</a:t>
            </a:r>
            <a:r>
              <a:rPr lang="es-ES_tradnl" dirty="0"/>
              <a:t> en dos columnas de texto. </a:t>
            </a:r>
            <a:r>
              <a:rPr lang="es-ES_tradnl" dirty="0" err="1"/>
              <a:t>Verdana</a:t>
            </a:r>
            <a:r>
              <a:rPr lang="es-ES_tradnl" dirty="0"/>
              <a:t> 15pt. </a:t>
            </a:r>
          </a:p>
          <a:p>
            <a:pPr lvl="0"/>
            <a:endParaRPr lang="es-ES_tradnl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s-ES_tradnl" dirty="0"/>
              <a:t>Texto texto texto texto texto texto texto texto texto texto texto texto texto texto texto.</a:t>
            </a:r>
          </a:p>
          <a:p>
            <a:pPr lvl="0"/>
            <a:r>
              <a:rPr lang="es-ES_tradnl" dirty="0"/>
              <a:t> </a:t>
            </a:r>
          </a:p>
        </p:txBody>
      </p:sp>
      <p:sp>
        <p:nvSpPr>
          <p:cNvPr id="7" name="Marcador de contenido 12"/>
          <p:cNvSpPr>
            <a:spLocks noGrp="1"/>
          </p:cNvSpPr>
          <p:nvPr>
            <p:ph sz="quarter" idx="12" hasCustomPrompt="1"/>
          </p:nvPr>
        </p:nvSpPr>
        <p:spPr>
          <a:xfrm>
            <a:off x="4639733" y="1066801"/>
            <a:ext cx="7010400" cy="990600"/>
          </a:xfrm>
          <a:prstGeom prst="rect">
            <a:avLst/>
          </a:prstGeom>
        </p:spPr>
        <p:txBody>
          <a:bodyPr vert="horz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 b="1" i="0" spc="0">
                <a:solidFill>
                  <a:schemeClr val="accent1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Titulo del capítulo/tema de la </a:t>
            </a:r>
            <a:r>
              <a:rPr lang="es-ES" dirty="0" err="1"/>
              <a:t>diapo</a:t>
            </a:r>
            <a:r>
              <a:rPr lang="es-ES" dirty="0"/>
              <a:t>. en máx. dos líneas. </a:t>
            </a:r>
            <a:r>
              <a:rPr lang="es-ES" dirty="0" err="1"/>
              <a:t>Verdana</a:t>
            </a:r>
            <a:r>
              <a:rPr lang="es-ES" dirty="0"/>
              <a:t> Negrita 20pt:</a:t>
            </a:r>
          </a:p>
          <a:p>
            <a:pPr lvl="0"/>
            <a:endParaRPr lang="es-ES" dirty="0"/>
          </a:p>
        </p:txBody>
      </p:sp>
      <p:sp>
        <p:nvSpPr>
          <p:cNvPr id="8" name="Marcador de contenido 12"/>
          <p:cNvSpPr>
            <a:spLocks noGrp="1"/>
          </p:cNvSpPr>
          <p:nvPr>
            <p:ph sz="quarter" idx="13" hasCustomPrompt="1"/>
          </p:nvPr>
        </p:nvSpPr>
        <p:spPr>
          <a:xfrm>
            <a:off x="4639733" y="2184401"/>
            <a:ext cx="7010400" cy="723900"/>
          </a:xfrm>
          <a:prstGeom prst="rect">
            <a:avLst/>
          </a:prstGeom>
        </p:spPr>
        <p:txBody>
          <a:bodyPr vert="horz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0" i="0" spc="0">
                <a:solidFill>
                  <a:srgbClr val="4F81BD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(Línea adicional) Subtema </a:t>
            </a:r>
            <a:r>
              <a:rPr lang="es-ES" dirty="0" err="1"/>
              <a:t>Verdana</a:t>
            </a:r>
            <a:r>
              <a:rPr lang="es-ES" dirty="0"/>
              <a:t> 18pt</a:t>
            </a:r>
          </a:p>
          <a:p>
            <a:pPr lvl="0"/>
            <a:endParaRPr lang="es-ES" dirty="0"/>
          </a:p>
        </p:txBody>
      </p:sp>
      <p:cxnSp>
        <p:nvCxnSpPr>
          <p:cNvPr id="9" name="10 Conector recto">
            <a:extLst>
              <a:ext uri="{FF2B5EF4-FFF2-40B4-BE49-F238E27FC236}">
                <a16:creationId xmlns:a16="http://schemas.microsoft.com/office/drawing/2014/main" id="{F6E62707-2393-4D75-94FD-F8BA5F8578A0}"/>
              </a:ext>
            </a:extLst>
          </p:cNvPr>
          <p:cNvCxnSpPr/>
          <p:nvPr userDrawn="1"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0057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4677647D-E5A9-4F23-A9BC-21BCAFABF8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4677647D-E5A9-4F23-A9BC-21BCAFABF8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10 Conector recto">
            <a:extLst>
              <a:ext uri="{FF2B5EF4-FFF2-40B4-BE49-F238E27FC236}">
                <a16:creationId xmlns:a16="http://schemas.microsoft.com/office/drawing/2014/main" id="{0E4C391B-94F5-4D33-A236-2538B33AC17E}"/>
              </a:ext>
            </a:extLst>
          </p:cNvPr>
          <p:cNvCxnSpPr/>
          <p:nvPr userDrawn="1"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2378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Complemento-Logo-Gobierno-160x14px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868" y="0"/>
            <a:ext cx="2709333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3" descr="Complemento-Logo-Gobierno-160x14p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868" y="0"/>
            <a:ext cx="2709333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5013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2"/>
          <p:cNvSpPr>
            <a:spLocks noGrp="1"/>
          </p:cNvSpPr>
          <p:nvPr>
            <p:ph idx="18" hasCustomPrompt="1"/>
          </p:nvPr>
        </p:nvSpPr>
        <p:spPr>
          <a:xfrm>
            <a:off x="4639735" y="3035300"/>
            <a:ext cx="7010399" cy="32366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aseline="0">
                <a:solidFill>
                  <a:schemeClr val="tx1">
                    <a:lumMod val="75000"/>
                  </a:schemeClr>
                </a:solidFill>
                <a:latin typeface="Verdana"/>
                <a:cs typeface="Verdana"/>
              </a:defRPr>
            </a:lvl1pPr>
            <a:lvl2pPr>
              <a:defRPr sz="2400">
                <a:solidFill>
                  <a:schemeClr val="bg1"/>
                </a:solidFill>
                <a:latin typeface="gobCL"/>
                <a:cs typeface="gobCL"/>
              </a:defRPr>
            </a:lvl2pPr>
            <a:lvl3pPr>
              <a:defRPr sz="2400">
                <a:solidFill>
                  <a:schemeClr val="bg1"/>
                </a:solidFill>
                <a:latin typeface="gobCL"/>
                <a:cs typeface="gobCL"/>
              </a:defRPr>
            </a:lvl3pPr>
          </a:lstStyle>
          <a:p>
            <a:pPr lvl="0"/>
            <a:r>
              <a:rPr lang="es-ES_tradnl" dirty="0"/>
              <a:t>Contenido de la </a:t>
            </a:r>
            <a:r>
              <a:rPr lang="es-ES_tradnl" dirty="0" err="1"/>
              <a:t>slide</a:t>
            </a:r>
            <a:r>
              <a:rPr lang="es-ES_tradnl" dirty="0"/>
              <a:t> en dos columnas de texto. </a:t>
            </a:r>
            <a:r>
              <a:rPr lang="es-ES_tradnl" dirty="0" err="1"/>
              <a:t>Verdana</a:t>
            </a:r>
            <a:r>
              <a:rPr lang="es-ES_tradnl" dirty="0"/>
              <a:t> 15pt. </a:t>
            </a:r>
          </a:p>
          <a:p>
            <a:pPr lvl="0"/>
            <a:endParaRPr lang="es-ES_tradnl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s-ES_tradnl" dirty="0"/>
              <a:t>Texto texto texto texto texto texto texto texto texto texto texto texto texto texto texto.</a:t>
            </a:r>
          </a:p>
          <a:p>
            <a:pPr lvl="0"/>
            <a:r>
              <a:rPr lang="es-ES_tradnl" dirty="0"/>
              <a:t> </a:t>
            </a:r>
          </a:p>
        </p:txBody>
      </p:sp>
      <p:sp>
        <p:nvSpPr>
          <p:cNvPr id="7" name="Marcador de contenido 12"/>
          <p:cNvSpPr>
            <a:spLocks noGrp="1"/>
          </p:cNvSpPr>
          <p:nvPr>
            <p:ph sz="quarter" idx="12" hasCustomPrompt="1"/>
          </p:nvPr>
        </p:nvSpPr>
        <p:spPr>
          <a:xfrm>
            <a:off x="4639733" y="1066801"/>
            <a:ext cx="7010400" cy="990600"/>
          </a:xfrm>
          <a:prstGeom prst="rect">
            <a:avLst/>
          </a:prstGeom>
        </p:spPr>
        <p:txBody>
          <a:bodyPr vert="horz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 b="1" i="0" spc="0">
                <a:solidFill>
                  <a:schemeClr val="accent1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Titulo del capítulo/tema de la </a:t>
            </a:r>
            <a:r>
              <a:rPr lang="es-ES" dirty="0" err="1"/>
              <a:t>diapo</a:t>
            </a:r>
            <a:r>
              <a:rPr lang="es-ES" dirty="0"/>
              <a:t>. en máx. dos líneas. </a:t>
            </a:r>
            <a:r>
              <a:rPr lang="es-ES" dirty="0" err="1"/>
              <a:t>Verdana</a:t>
            </a:r>
            <a:r>
              <a:rPr lang="es-ES" dirty="0"/>
              <a:t> Negrita 20pt:</a:t>
            </a:r>
          </a:p>
          <a:p>
            <a:pPr lvl="0"/>
            <a:endParaRPr lang="es-ES" dirty="0"/>
          </a:p>
        </p:txBody>
      </p:sp>
      <p:sp>
        <p:nvSpPr>
          <p:cNvPr id="8" name="Marcador de contenido 12"/>
          <p:cNvSpPr>
            <a:spLocks noGrp="1"/>
          </p:cNvSpPr>
          <p:nvPr>
            <p:ph sz="quarter" idx="13" hasCustomPrompt="1"/>
          </p:nvPr>
        </p:nvSpPr>
        <p:spPr>
          <a:xfrm>
            <a:off x="4639733" y="2184401"/>
            <a:ext cx="7010400" cy="723900"/>
          </a:xfrm>
          <a:prstGeom prst="rect">
            <a:avLst/>
          </a:prstGeom>
        </p:spPr>
        <p:txBody>
          <a:bodyPr vert="horz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0" i="0" spc="0">
                <a:solidFill>
                  <a:srgbClr val="4F81BD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(Línea adicional) Subtema </a:t>
            </a:r>
            <a:r>
              <a:rPr lang="es-ES" dirty="0" err="1"/>
              <a:t>Verdana</a:t>
            </a:r>
            <a:r>
              <a:rPr lang="es-ES" dirty="0"/>
              <a:t> 18pt</a:t>
            </a:r>
          </a:p>
          <a:p>
            <a:pPr lvl="0"/>
            <a:endParaRPr lang="es-ES" dirty="0"/>
          </a:p>
        </p:txBody>
      </p:sp>
      <p:sp>
        <p:nvSpPr>
          <p:cNvPr id="2" name="CuadroTexto 1"/>
          <p:cNvSpPr txBox="1"/>
          <p:nvPr userDrawn="1"/>
        </p:nvSpPr>
        <p:spPr>
          <a:xfrm>
            <a:off x="11592318" y="6415393"/>
            <a:ext cx="38985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F0D743BD-13B2-8146-8C09-0F6A22AE68B5}" type="slidenum">
              <a:rPr lang="es-ES" sz="1067" smtClean="0">
                <a:solidFill>
                  <a:schemeClr val="tx1">
                    <a:lumMod val="65000"/>
                    <a:lumOff val="35000"/>
                  </a:schemeClr>
                </a:solidFill>
                <a:latin typeface="Candara"/>
                <a:cs typeface="Candara"/>
              </a:rPr>
              <a:pPr algn="r"/>
              <a:t>‹Nº›</a:t>
            </a:fld>
            <a:endParaRPr lang="es-ES" sz="1067" dirty="0">
              <a:solidFill>
                <a:schemeClr val="tx1">
                  <a:lumMod val="65000"/>
                  <a:lumOff val="35000"/>
                </a:schemeClr>
              </a:solidFill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0135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omplemento-Logo-Gobierno-160x14p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854" y="0"/>
            <a:ext cx="2710781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uadroTexto 3"/>
          <p:cNvSpPr txBox="1">
            <a:spLocks noChangeArrowheads="1"/>
          </p:cNvSpPr>
          <p:nvPr userDrawn="1"/>
        </p:nvSpPr>
        <p:spPr bwMode="auto">
          <a:xfrm>
            <a:off x="11397879" y="6475414"/>
            <a:ext cx="37382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7617680D-86B9-4817-B66A-0A27DE100C4E}" type="slidenum">
              <a:rPr lang="es-ES" altLang="es-CL" sz="1000">
                <a:solidFill>
                  <a:srgbClr val="595959"/>
                </a:solidFill>
                <a:latin typeface="Candara" panose="020E0502030303020204" pitchFamily="34" charset="0"/>
              </a:rPr>
              <a:pPr algn="r" eaLnBrk="1" hangingPunct="1"/>
              <a:t>‹Nº›</a:t>
            </a:fld>
            <a:endParaRPr lang="es-ES" altLang="es-CL" sz="1000">
              <a:solidFill>
                <a:srgbClr val="595959"/>
              </a:solidFill>
              <a:latin typeface="Candara" panose="020E0502030303020204" pitchFamily="34" charset="0"/>
            </a:endParaRPr>
          </a:p>
        </p:txBody>
      </p:sp>
      <p:sp>
        <p:nvSpPr>
          <p:cNvPr id="6" name="Marcador de texto 2"/>
          <p:cNvSpPr>
            <a:spLocks noGrp="1"/>
          </p:cNvSpPr>
          <p:nvPr>
            <p:ph idx="18"/>
          </p:nvPr>
        </p:nvSpPr>
        <p:spPr>
          <a:xfrm>
            <a:off x="4639738" y="3035300"/>
            <a:ext cx="7010399" cy="3236699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 baseline="0">
                <a:solidFill>
                  <a:schemeClr val="tx1">
                    <a:lumMod val="75000"/>
                  </a:schemeClr>
                </a:solidFill>
                <a:latin typeface="Verdana"/>
                <a:cs typeface="Verdana"/>
              </a:defRPr>
            </a:lvl1pPr>
            <a:lvl2pPr>
              <a:defRPr sz="1800">
                <a:solidFill>
                  <a:schemeClr val="bg1"/>
                </a:solidFill>
                <a:latin typeface="gobCL"/>
                <a:cs typeface="gobCL"/>
              </a:defRPr>
            </a:lvl2pPr>
            <a:lvl3pPr>
              <a:defRPr sz="1800">
                <a:solidFill>
                  <a:schemeClr val="bg1"/>
                </a:solidFill>
                <a:latin typeface="gobCL"/>
                <a:cs typeface="gobCL"/>
              </a:defRPr>
            </a:lvl3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</p:txBody>
      </p:sp>
      <p:sp>
        <p:nvSpPr>
          <p:cNvPr id="7" name="Marcador de contenido 12"/>
          <p:cNvSpPr>
            <a:spLocks noGrp="1"/>
          </p:cNvSpPr>
          <p:nvPr>
            <p:ph sz="quarter" idx="12"/>
          </p:nvPr>
        </p:nvSpPr>
        <p:spPr>
          <a:xfrm>
            <a:off x="4639733" y="1066801"/>
            <a:ext cx="7010400" cy="990600"/>
          </a:xfrm>
          <a:prstGeom prst="rect">
            <a:avLst/>
          </a:prstGeom>
        </p:spPr>
        <p:txBody>
          <a:bodyPr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 i="0" spc="0">
                <a:solidFill>
                  <a:schemeClr val="accent1"/>
                </a:solidFill>
                <a:latin typeface="Verdana"/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8" name="Marcador de contenido 12"/>
          <p:cNvSpPr>
            <a:spLocks noGrp="1"/>
          </p:cNvSpPr>
          <p:nvPr>
            <p:ph sz="quarter" idx="13"/>
          </p:nvPr>
        </p:nvSpPr>
        <p:spPr>
          <a:xfrm>
            <a:off x="4639733" y="2184401"/>
            <a:ext cx="7010400" cy="723900"/>
          </a:xfrm>
          <a:prstGeom prst="rect">
            <a:avLst/>
          </a:prstGeom>
        </p:spPr>
        <p:txBody>
          <a:bodyPr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0" i="0" spc="0">
                <a:solidFill>
                  <a:srgbClr val="4F81BD"/>
                </a:solidFill>
                <a:latin typeface="Verdana"/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</p:spTree>
    <p:extLst>
      <p:ext uri="{BB962C8B-B14F-4D97-AF65-F5344CB8AC3E}">
        <p14:creationId xmlns:p14="http://schemas.microsoft.com/office/powerpoint/2010/main" val="265625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  <p:pic>
        <p:nvPicPr>
          <p:cNvPr id="5" name="1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" y="1"/>
            <a:ext cx="2221401" cy="2012244"/>
          </a:xfrm>
          <a:prstGeom prst="rect">
            <a:avLst/>
          </a:prstGeom>
        </p:spPr>
      </p:pic>
      <p:pic>
        <p:nvPicPr>
          <p:cNvPr id="6" name="Picture 16" descr="Complemento-Logo-Gobierno-160x14px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818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54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5392E52-E1FE-4900-BA83-F4AE615AF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  <p:cxnSp>
        <p:nvCxnSpPr>
          <p:cNvPr id="12" name="10 Conector recto">
            <a:extLst>
              <a:ext uri="{FF2B5EF4-FFF2-40B4-BE49-F238E27FC236}">
                <a16:creationId xmlns:a16="http://schemas.microsoft.com/office/drawing/2014/main" id="{D55F10C3-F4EF-4F9E-8307-03F50DA827B8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246E96C5-6012-4E20-8D5C-6238BCEAD415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  <p:cxnSp>
        <p:nvCxnSpPr>
          <p:cNvPr id="5" name="10 Conector recto">
            <a:extLst>
              <a:ext uri="{FF2B5EF4-FFF2-40B4-BE49-F238E27FC236}">
                <a16:creationId xmlns:a16="http://schemas.microsoft.com/office/drawing/2014/main" id="{680D1C93-122D-437B-8CBD-637856DBD44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B047A462-51C9-45AD-8BAA-DA748549C572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934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559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002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5392E52-E1FE-4900-BA83-F4AE615AF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  <p:cxnSp>
        <p:nvCxnSpPr>
          <p:cNvPr id="12" name="10 Conector recto">
            <a:extLst>
              <a:ext uri="{FF2B5EF4-FFF2-40B4-BE49-F238E27FC236}">
                <a16:creationId xmlns:a16="http://schemas.microsoft.com/office/drawing/2014/main" id="{D55F10C3-F4EF-4F9E-8307-03F50DA827B8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246E96C5-6012-4E20-8D5C-6238BCEAD415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87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436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553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8635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/>
          <p:nvPr/>
        </p:nvSpPr>
        <p:spPr>
          <a:xfrm rot="10800000">
            <a:off x="10351098" y="0"/>
            <a:ext cx="1840903" cy="6858000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ight Triangle 7"/>
          <p:cNvSpPr/>
          <p:nvPr/>
        </p:nvSpPr>
        <p:spPr>
          <a:xfrm>
            <a:off x="1" y="0"/>
            <a:ext cx="1840903" cy="6858000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Rectangle 12"/>
          <p:cNvSpPr/>
          <p:nvPr/>
        </p:nvSpPr>
        <p:spPr>
          <a:xfrm>
            <a:off x="1840904" y="1316765"/>
            <a:ext cx="9727705" cy="49925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" name="Picture 2" descr="G:\002-KIMS BUSINESS\007-02-Googleslidesppt\02-GSppt-Contents-Kim\20170429\06-\item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15" y="975128"/>
            <a:ext cx="2622557" cy="2255312"/>
          </a:xfrm>
          <a:prstGeom prst="rect">
            <a:avLst/>
          </a:prstGeom>
          <a:noFill/>
          <a:scene3d>
            <a:camera prst="orthographicFront">
              <a:rot lat="0" lon="0" rev="60000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780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  <p:pic>
        <p:nvPicPr>
          <p:cNvPr id="5" name="1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" y="1"/>
            <a:ext cx="2221401" cy="2012244"/>
          </a:xfrm>
          <a:prstGeom prst="rect">
            <a:avLst/>
          </a:prstGeom>
        </p:spPr>
      </p:pic>
      <p:pic>
        <p:nvPicPr>
          <p:cNvPr id="6" name="Picture 16" descr="Complemento-Logo-Gobierno-160x14px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818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12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5392E52-E1FE-4900-BA83-F4AE615AF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  <p:cxnSp>
        <p:nvCxnSpPr>
          <p:cNvPr id="12" name="10 Conector recto">
            <a:extLst>
              <a:ext uri="{FF2B5EF4-FFF2-40B4-BE49-F238E27FC236}">
                <a16:creationId xmlns:a16="http://schemas.microsoft.com/office/drawing/2014/main" id="{D55F10C3-F4EF-4F9E-8307-03F50DA827B8}"/>
              </a:ext>
            </a:extLst>
          </p:cNvPr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246E96C5-6012-4E20-8D5C-6238BCEAD415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1905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F9CE58-B858-4E85-9551-D4DD44FDB6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87A26C2-455C-4FB6-B756-71140D2E44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AC1FFB5-6EAC-423C-9026-3723DE2AA5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B04E2-28A5-4BB9-8677-15A14190096B}" type="datetimeFigureOut">
              <a:rPr lang="es-CL" smtClean="0"/>
              <a:t>15-1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5919428-AA54-4711-A28D-269F3DDE7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9E26FEB-7E00-4FA8-B28E-77CD11792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65B0A1-1966-43C7-B4B9-DE25E59F6C6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1862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  <p:pic>
        <p:nvPicPr>
          <p:cNvPr id="5" name="1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" y="1"/>
            <a:ext cx="2221401" cy="2012244"/>
          </a:xfrm>
          <a:prstGeom prst="rect">
            <a:avLst/>
          </a:prstGeom>
        </p:spPr>
      </p:pic>
      <p:pic>
        <p:nvPicPr>
          <p:cNvPr id="6" name="Picture 16" descr="Complemento-Logo-Gobierno-160x14px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818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22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5E10838F-9F77-44FD-A9AF-8F7B74B74566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10" name="10 Conector recto">
            <a:extLst>
              <a:ext uri="{FF2B5EF4-FFF2-40B4-BE49-F238E27FC236}">
                <a16:creationId xmlns:a16="http://schemas.microsoft.com/office/drawing/2014/main" id="{DA2B6C81-A038-44C3-89B8-A2BD5FF623F4}"/>
              </a:ext>
            </a:extLst>
          </p:cNvPr>
          <p:cNvCxnSpPr/>
          <p:nvPr userDrawn="1"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C008A5D-F310-4C06-8FE7-AE8687EEBCB6}"/>
              </a:ext>
            </a:extLst>
          </p:cNvPr>
          <p:cNvSpPr txBox="1">
            <a:spLocks/>
          </p:cNvSpPr>
          <p:nvPr userDrawn="1"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6015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5392E52-E1FE-4900-BA83-F4AE615AF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5E10838F-9F77-44FD-A9AF-8F7B74B74566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12" name="10 Conector recto">
            <a:extLst>
              <a:ext uri="{FF2B5EF4-FFF2-40B4-BE49-F238E27FC236}">
                <a16:creationId xmlns:a16="http://schemas.microsoft.com/office/drawing/2014/main" id="{D55F10C3-F4EF-4F9E-8307-03F50DA827B8}"/>
              </a:ext>
            </a:extLst>
          </p:cNvPr>
          <p:cNvCxnSpPr/>
          <p:nvPr userDrawn="1"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246E96C5-6012-4E20-8D5C-6238BCEAD415}"/>
              </a:ext>
            </a:extLst>
          </p:cNvPr>
          <p:cNvSpPr txBox="1">
            <a:spLocks/>
          </p:cNvSpPr>
          <p:nvPr userDrawn="1"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788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98026E8-F949-446A-B555-EB70F27CD8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0213E9A-FF89-456C-AB86-37F3885C6D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CEB1B31-1092-4B25-87E3-8DC780DB1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096C5-D181-4D39-8D49-6CAABFB77C7F}" type="datetimeFigureOut">
              <a:rPr lang="es-CL" smtClean="0"/>
              <a:t>15-12-2025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00F764A-F135-4599-8BE3-4699DF3CF9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B833CCC-62AA-46E9-9394-F06491BE3D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4773A-7D3E-412D-8D4C-5BFEEF65F1F3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7855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2"/>
          <p:cNvSpPr>
            <a:spLocks noGrp="1"/>
          </p:cNvSpPr>
          <p:nvPr>
            <p:ph idx="18" hasCustomPrompt="1"/>
          </p:nvPr>
        </p:nvSpPr>
        <p:spPr>
          <a:xfrm>
            <a:off x="4639735" y="3035300"/>
            <a:ext cx="7010399" cy="32366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aseline="0">
                <a:solidFill>
                  <a:schemeClr val="tx1">
                    <a:lumMod val="75000"/>
                  </a:schemeClr>
                </a:solidFill>
                <a:latin typeface="Verdana"/>
                <a:cs typeface="Verdana"/>
              </a:defRPr>
            </a:lvl1pPr>
            <a:lvl2pPr>
              <a:defRPr sz="2400">
                <a:solidFill>
                  <a:schemeClr val="bg1"/>
                </a:solidFill>
                <a:latin typeface="gobCL"/>
                <a:cs typeface="gobCL"/>
              </a:defRPr>
            </a:lvl2pPr>
            <a:lvl3pPr>
              <a:defRPr sz="2400">
                <a:solidFill>
                  <a:schemeClr val="bg1"/>
                </a:solidFill>
                <a:latin typeface="gobCL"/>
                <a:cs typeface="gobCL"/>
              </a:defRPr>
            </a:lvl3pPr>
          </a:lstStyle>
          <a:p>
            <a:pPr lvl="0"/>
            <a:r>
              <a:rPr lang="es-ES_tradnl" dirty="0"/>
              <a:t>Contenido de la </a:t>
            </a:r>
            <a:r>
              <a:rPr lang="es-ES_tradnl" dirty="0" err="1"/>
              <a:t>slide</a:t>
            </a:r>
            <a:r>
              <a:rPr lang="es-ES_tradnl" dirty="0"/>
              <a:t> en dos columnas de texto. </a:t>
            </a:r>
            <a:r>
              <a:rPr lang="es-ES_tradnl" dirty="0" err="1"/>
              <a:t>Verdana</a:t>
            </a:r>
            <a:r>
              <a:rPr lang="es-ES_tradnl" dirty="0"/>
              <a:t> 15pt. </a:t>
            </a:r>
          </a:p>
          <a:p>
            <a:pPr lvl="0"/>
            <a:endParaRPr lang="es-ES_tradnl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s-ES_tradnl" dirty="0"/>
              <a:t>Texto texto texto texto texto texto texto texto texto texto texto texto texto texto texto.</a:t>
            </a:r>
          </a:p>
          <a:p>
            <a:pPr lvl="0"/>
            <a:r>
              <a:rPr lang="es-ES_tradnl" dirty="0"/>
              <a:t> </a:t>
            </a:r>
          </a:p>
        </p:txBody>
      </p:sp>
      <p:sp>
        <p:nvSpPr>
          <p:cNvPr id="7" name="Marcador de contenido 12"/>
          <p:cNvSpPr>
            <a:spLocks noGrp="1"/>
          </p:cNvSpPr>
          <p:nvPr>
            <p:ph sz="quarter" idx="12" hasCustomPrompt="1"/>
          </p:nvPr>
        </p:nvSpPr>
        <p:spPr>
          <a:xfrm>
            <a:off x="4639733" y="1066801"/>
            <a:ext cx="7010400" cy="990600"/>
          </a:xfrm>
          <a:prstGeom prst="rect">
            <a:avLst/>
          </a:prstGeom>
        </p:spPr>
        <p:txBody>
          <a:bodyPr vert="horz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 b="1" i="0" spc="0">
                <a:solidFill>
                  <a:schemeClr val="accent1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Titulo del capítulo/tema de la </a:t>
            </a:r>
            <a:r>
              <a:rPr lang="es-ES" dirty="0" err="1"/>
              <a:t>diapo</a:t>
            </a:r>
            <a:r>
              <a:rPr lang="es-ES" dirty="0"/>
              <a:t>. en máx. dos líneas. </a:t>
            </a:r>
            <a:r>
              <a:rPr lang="es-ES" dirty="0" err="1"/>
              <a:t>Verdana</a:t>
            </a:r>
            <a:r>
              <a:rPr lang="es-ES" dirty="0"/>
              <a:t> Negrita 20pt:</a:t>
            </a:r>
          </a:p>
          <a:p>
            <a:pPr lvl="0"/>
            <a:endParaRPr lang="es-ES" dirty="0"/>
          </a:p>
        </p:txBody>
      </p:sp>
      <p:sp>
        <p:nvSpPr>
          <p:cNvPr id="8" name="Marcador de contenido 12"/>
          <p:cNvSpPr>
            <a:spLocks noGrp="1"/>
          </p:cNvSpPr>
          <p:nvPr>
            <p:ph sz="quarter" idx="13" hasCustomPrompt="1"/>
          </p:nvPr>
        </p:nvSpPr>
        <p:spPr>
          <a:xfrm>
            <a:off x="4639733" y="2184401"/>
            <a:ext cx="7010400" cy="723900"/>
          </a:xfrm>
          <a:prstGeom prst="rect">
            <a:avLst/>
          </a:prstGeom>
        </p:spPr>
        <p:txBody>
          <a:bodyPr vert="horz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0" i="0" spc="0">
                <a:solidFill>
                  <a:srgbClr val="4F81BD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(Línea adicional) Subtema </a:t>
            </a:r>
            <a:r>
              <a:rPr lang="es-ES" dirty="0" err="1"/>
              <a:t>Verdana</a:t>
            </a:r>
            <a:r>
              <a:rPr lang="es-ES" dirty="0"/>
              <a:t> 18pt</a:t>
            </a:r>
          </a:p>
          <a:p>
            <a:pPr lvl="0"/>
            <a:endParaRPr lang="es-ES" dirty="0"/>
          </a:p>
        </p:txBody>
      </p:sp>
      <p:cxnSp>
        <p:nvCxnSpPr>
          <p:cNvPr id="9" name="10 Conector recto">
            <a:extLst>
              <a:ext uri="{FF2B5EF4-FFF2-40B4-BE49-F238E27FC236}">
                <a16:creationId xmlns:a16="http://schemas.microsoft.com/office/drawing/2014/main" id="{F6E62707-2393-4D75-94FD-F8BA5F8578A0}"/>
              </a:ext>
            </a:extLst>
          </p:cNvPr>
          <p:cNvCxnSpPr/>
          <p:nvPr userDrawn="1"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8355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4677647D-E5A9-4F23-A9BC-21BCAFABF8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4677647D-E5A9-4F23-A9BC-21BCAFABF8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10 Conector recto">
            <a:extLst>
              <a:ext uri="{FF2B5EF4-FFF2-40B4-BE49-F238E27FC236}">
                <a16:creationId xmlns:a16="http://schemas.microsoft.com/office/drawing/2014/main" id="{0E4C391B-94F5-4D33-A236-2538B33AC17E}"/>
              </a:ext>
            </a:extLst>
          </p:cNvPr>
          <p:cNvCxnSpPr/>
          <p:nvPr userDrawn="1"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5857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Complemento-Logo-Gobierno-160x14px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868" y="0"/>
            <a:ext cx="2709333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3" descr="Complemento-Logo-Gobierno-160x14p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868" y="0"/>
            <a:ext cx="2709333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892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2"/>
          <p:cNvSpPr>
            <a:spLocks noGrp="1"/>
          </p:cNvSpPr>
          <p:nvPr>
            <p:ph idx="18" hasCustomPrompt="1"/>
          </p:nvPr>
        </p:nvSpPr>
        <p:spPr>
          <a:xfrm>
            <a:off x="4639735" y="3035300"/>
            <a:ext cx="7010399" cy="32366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aseline="0">
                <a:solidFill>
                  <a:schemeClr val="tx1">
                    <a:lumMod val="75000"/>
                  </a:schemeClr>
                </a:solidFill>
                <a:latin typeface="Verdana"/>
                <a:cs typeface="Verdana"/>
              </a:defRPr>
            </a:lvl1pPr>
            <a:lvl2pPr>
              <a:defRPr sz="2400">
                <a:solidFill>
                  <a:schemeClr val="bg1"/>
                </a:solidFill>
                <a:latin typeface="gobCL"/>
                <a:cs typeface="gobCL"/>
              </a:defRPr>
            </a:lvl2pPr>
            <a:lvl3pPr>
              <a:defRPr sz="2400">
                <a:solidFill>
                  <a:schemeClr val="bg1"/>
                </a:solidFill>
                <a:latin typeface="gobCL"/>
                <a:cs typeface="gobCL"/>
              </a:defRPr>
            </a:lvl3pPr>
          </a:lstStyle>
          <a:p>
            <a:pPr lvl="0"/>
            <a:r>
              <a:rPr lang="es-ES_tradnl" dirty="0"/>
              <a:t>Contenido de la </a:t>
            </a:r>
            <a:r>
              <a:rPr lang="es-ES_tradnl" dirty="0" err="1"/>
              <a:t>slide</a:t>
            </a:r>
            <a:r>
              <a:rPr lang="es-ES_tradnl" dirty="0"/>
              <a:t> en dos columnas de texto. </a:t>
            </a:r>
            <a:r>
              <a:rPr lang="es-ES_tradnl" dirty="0" err="1"/>
              <a:t>Verdana</a:t>
            </a:r>
            <a:r>
              <a:rPr lang="es-ES_tradnl" dirty="0"/>
              <a:t> 15pt. </a:t>
            </a:r>
          </a:p>
          <a:p>
            <a:pPr lvl="0"/>
            <a:endParaRPr lang="es-ES_tradnl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s-ES_tradnl" dirty="0"/>
              <a:t>Texto texto texto texto texto texto texto texto texto texto texto texto texto texto texto.</a:t>
            </a:r>
          </a:p>
          <a:p>
            <a:pPr lvl="0"/>
            <a:r>
              <a:rPr lang="es-ES_tradnl" dirty="0"/>
              <a:t> </a:t>
            </a:r>
          </a:p>
        </p:txBody>
      </p:sp>
      <p:sp>
        <p:nvSpPr>
          <p:cNvPr id="7" name="Marcador de contenido 12"/>
          <p:cNvSpPr>
            <a:spLocks noGrp="1"/>
          </p:cNvSpPr>
          <p:nvPr>
            <p:ph sz="quarter" idx="12" hasCustomPrompt="1"/>
          </p:nvPr>
        </p:nvSpPr>
        <p:spPr>
          <a:xfrm>
            <a:off x="4639733" y="1066801"/>
            <a:ext cx="7010400" cy="990600"/>
          </a:xfrm>
          <a:prstGeom prst="rect">
            <a:avLst/>
          </a:prstGeom>
        </p:spPr>
        <p:txBody>
          <a:bodyPr vert="horz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 b="1" i="0" spc="0">
                <a:solidFill>
                  <a:schemeClr val="accent1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Titulo del capítulo/tema de la </a:t>
            </a:r>
            <a:r>
              <a:rPr lang="es-ES" dirty="0" err="1"/>
              <a:t>diapo</a:t>
            </a:r>
            <a:r>
              <a:rPr lang="es-ES" dirty="0"/>
              <a:t>. en máx. dos líneas. </a:t>
            </a:r>
            <a:r>
              <a:rPr lang="es-ES" dirty="0" err="1"/>
              <a:t>Verdana</a:t>
            </a:r>
            <a:r>
              <a:rPr lang="es-ES" dirty="0"/>
              <a:t> Negrita 20pt:</a:t>
            </a:r>
          </a:p>
          <a:p>
            <a:pPr lvl="0"/>
            <a:endParaRPr lang="es-ES" dirty="0"/>
          </a:p>
        </p:txBody>
      </p:sp>
      <p:sp>
        <p:nvSpPr>
          <p:cNvPr id="8" name="Marcador de contenido 12"/>
          <p:cNvSpPr>
            <a:spLocks noGrp="1"/>
          </p:cNvSpPr>
          <p:nvPr>
            <p:ph sz="quarter" idx="13" hasCustomPrompt="1"/>
          </p:nvPr>
        </p:nvSpPr>
        <p:spPr>
          <a:xfrm>
            <a:off x="4639733" y="2184401"/>
            <a:ext cx="7010400" cy="723900"/>
          </a:xfrm>
          <a:prstGeom prst="rect">
            <a:avLst/>
          </a:prstGeom>
        </p:spPr>
        <p:txBody>
          <a:bodyPr vert="horz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0" i="0" spc="0">
                <a:solidFill>
                  <a:srgbClr val="4F81BD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(Línea adicional) Subtema </a:t>
            </a:r>
            <a:r>
              <a:rPr lang="es-ES" dirty="0" err="1"/>
              <a:t>Verdana</a:t>
            </a:r>
            <a:r>
              <a:rPr lang="es-ES" dirty="0"/>
              <a:t> 18pt</a:t>
            </a:r>
          </a:p>
          <a:p>
            <a:pPr lvl="0"/>
            <a:endParaRPr lang="es-ES" dirty="0"/>
          </a:p>
        </p:txBody>
      </p:sp>
      <p:sp>
        <p:nvSpPr>
          <p:cNvPr id="2" name="CuadroTexto 1"/>
          <p:cNvSpPr txBox="1"/>
          <p:nvPr userDrawn="1"/>
        </p:nvSpPr>
        <p:spPr>
          <a:xfrm>
            <a:off x="11592318" y="6415393"/>
            <a:ext cx="38985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F0D743BD-13B2-8146-8C09-0F6A22AE68B5}" type="slidenum">
              <a:rPr lang="es-ES" sz="1067" smtClean="0">
                <a:solidFill>
                  <a:schemeClr val="tx1">
                    <a:lumMod val="65000"/>
                    <a:lumOff val="35000"/>
                  </a:schemeClr>
                </a:solidFill>
                <a:latin typeface="Candara"/>
                <a:cs typeface="Candara"/>
              </a:rPr>
              <a:pPr algn="r"/>
              <a:t>‹Nº›</a:t>
            </a:fld>
            <a:endParaRPr lang="es-ES" sz="1067" dirty="0">
              <a:solidFill>
                <a:schemeClr val="tx1">
                  <a:lumMod val="65000"/>
                  <a:lumOff val="35000"/>
                </a:schemeClr>
              </a:solidFill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314728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omplemento-Logo-Gobierno-160x14p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854" y="0"/>
            <a:ext cx="2710781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uadroTexto 3"/>
          <p:cNvSpPr txBox="1">
            <a:spLocks noChangeArrowheads="1"/>
          </p:cNvSpPr>
          <p:nvPr userDrawn="1"/>
        </p:nvSpPr>
        <p:spPr bwMode="auto">
          <a:xfrm>
            <a:off x="11397879" y="6475414"/>
            <a:ext cx="37382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7617680D-86B9-4817-B66A-0A27DE100C4E}" type="slidenum">
              <a:rPr lang="es-ES" altLang="es-CL" sz="1000">
                <a:solidFill>
                  <a:srgbClr val="595959"/>
                </a:solidFill>
                <a:latin typeface="Candara" panose="020E0502030303020204" pitchFamily="34" charset="0"/>
              </a:rPr>
              <a:pPr algn="r" eaLnBrk="1" hangingPunct="1"/>
              <a:t>‹Nº›</a:t>
            </a:fld>
            <a:endParaRPr lang="es-ES" altLang="es-CL" sz="1000">
              <a:solidFill>
                <a:srgbClr val="595959"/>
              </a:solidFill>
              <a:latin typeface="Candara" panose="020E0502030303020204" pitchFamily="34" charset="0"/>
            </a:endParaRPr>
          </a:p>
        </p:txBody>
      </p:sp>
      <p:sp>
        <p:nvSpPr>
          <p:cNvPr id="6" name="Marcador de texto 2"/>
          <p:cNvSpPr>
            <a:spLocks noGrp="1"/>
          </p:cNvSpPr>
          <p:nvPr>
            <p:ph idx="18"/>
          </p:nvPr>
        </p:nvSpPr>
        <p:spPr>
          <a:xfrm>
            <a:off x="4639738" y="3035300"/>
            <a:ext cx="7010399" cy="3236699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 baseline="0">
                <a:solidFill>
                  <a:schemeClr val="tx1">
                    <a:lumMod val="75000"/>
                  </a:schemeClr>
                </a:solidFill>
                <a:latin typeface="Verdana"/>
                <a:cs typeface="Verdana"/>
              </a:defRPr>
            </a:lvl1pPr>
            <a:lvl2pPr>
              <a:defRPr sz="1800">
                <a:solidFill>
                  <a:schemeClr val="bg1"/>
                </a:solidFill>
                <a:latin typeface="gobCL"/>
                <a:cs typeface="gobCL"/>
              </a:defRPr>
            </a:lvl2pPr>
            <a:lvl3pPr>
              <a:defRPr sz="1800">
                <a:solidFill>
                  <a:schemeClr val="bg1"/>
                </a:solidFill>
                <a:latin typeface="gobCL"/>
                <a:cs typeface="gobCL"/>
              </a:defRPr>
            </a:lvl3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</p:txBody>
      </p:sp>
      <p:sp>
        <p:nvSpPr>
          <p:cNvPr id="7" name="Marcador de contenido 12"/>
          <p:cNvSpPr>
            <a:spLocks noGrp="1"/>
          </p:cNvSpPr>
          <p:nvPr>
            <p:ph sz="quarter" idx="12"/>
          </p:nvPr>
        </p:nvSpPr>
        <p:spPr>
          <a:xfrm>
            <a:off x="4639733" y="1066801"/>
            <a:ext cx="7010400" cy="990600"/>
          </a:xfrm>
          <a:prstGeom prst="rect">
            <a:avLst/>
          </a:prstGeom>
        </p:spPr>
        <p:txBody>
          <a:bodyPr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 i="0" spc="0">
                <a:solidFill>
                  <a:schemeClr val="accent1"/>
                </a:solidFill>
                <a:latin typeface="Verdana"/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8" name="Marcador de contenido 12"/>
          <p:cNvSpPr>
            <a:spLocks noGrp="1"/>
          </p:cNvSpPr>
          <p:nvPr>
            <p:ph sz="quarter" idx="13"/>
          </p:nvPr>
        </p:nvSpPr>
        <p:spPr>
          <a:xfrm>
            <a:off x="4639733" y="2184401"/>
            <a:ext cx="7010400" cy="723900"/>
          </a:xfrm>
          <a:prstGeom prst="rect">
            <a:avLst/>
          </a:prstGeom>
        </p:spPr>
        <p:txBody>
          <a:bodyPr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0" i="0" spc="0">
                <a:solidFill>
                  <a:srgbClr val="4F81BD"/>
                </a:solidFill>
                <a:latin typeface="Verdana"/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</p:spTree>
    <p:extLst>
      <p:ext uri="{BB962C8B-B14F-4D97-AF65-F5344CB8AC3E}">
        <p14:creationId xmlns:p14="http://schemas.microsoft.com/office/powerpoint/2010/main" val="2623551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FD1E5D-52F9-4339-9B72-B25A2ECBCA70}" type="datetimeFigureOut">
              <a:rPr lang="es-CL" smtClean="0"/>
              <a:t>15-12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91196A-0593-4C9E-8BE1-EDF2BBD8A92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34687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14C6F0F0-4E6A-46E7-90E2-AB89C9AFCE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70F555-38A2-4861-A946-0E02EE148DE9}" type="datetimeFigureOut">
              <a:rPr lang="es-CL" smtClean="0"/>
              <a:t>15-12-2025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3ADE828F-8002-4F0F-A8B9-E057B405B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CA89C4F-F0DE-4A04-BC65-755682841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E3E2B8-878E-47C7-8894-7A320D4CF6F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778963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  <p:pic>
        <p:nvPicPr>
          <p:cNvPr id="5" name="1 Imagen"/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" y="1"/>
            <a:ext cx="2221401" cy="2012244"/>
          </a:xfrm>
          <a:prstGeom prst="rect">
            <a:avLst/>
          </a:prstGeom>
        </p:spPr>
      </p:pic>
      <p:pic>
        <p:nvPicPr>
          <p:cNvPr id="6" name="Picture 16" descr="Complemento-Logo-Gobierno-160x14px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818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230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imágenes prediseñadas 9"/>
          <p:cNvSpPr>
            <a:spLocks noGrp="1"/>
          </p:cNvSpPr>
          <p:nvPr>
            <p:ph type="clipArt" sz="quarter" idx="10" hasCustomPrompt="1"/>
          </p:nvPr>
        </p:nvSpPr>
        <p:spPr>
          <a:xfrm>
            <a:off x="0" y="0"/>
            <a:ext cx="3708400" cy="6858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667">
                <a:solidFill>
                  <a:schemeClr val="bg1"/>
                </a:solidFill>
                <a:latin typeface="gobCL"/>
                <a:cs typeface="gobCL"/>
              </a:defRPr>
            </a:lvl1pPr>
          </a:lstStyle>
          <a:p>
            <a:r>
              <a:rPr lang="es-ES" dirty="0"/>
              <a:t>Imagen referencial</a:t>
            </a:r>
          </a:p>
        </p:txBody>
      </p:sp>
      <p:sp>
        <p:nvSpPr>
          <p:cNvPr id="8" name="Rectangle 7"/>
          <p:cNvSpPr/>
          <p:nvPr/>
        </p:nvSpPr>
        <p:spPr>
          <a:xfrm>
            <a:off x="124989" y="158235"/>
            <a:ext cx="35834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3200" dirty="0">
                <a:solidFill>
                  <a:schemeClr val="bg1">
                    <a:lumMod val="75000"/>
                  </a:schemeClr>
                </a:solidFill>
              </a:rPr>
              <a:t>Imagen Referencia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4250267" y="2582489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Estilo portada presentación 1, </a:t>
            </a:r>
            <a:r>
              <a:rPr lang="es-ES" dirty="0" err="1"/>
              <a:t>Verdana</a:t>
            </a:r>
            <a:r>
              <a:rPr lang="es-ES" dirty="0"/>
              <a:t> Negrita 28pt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4250267" y="3623721"/>
            <a:ext cx="7941733" cy="10275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i="0">
                <a:solidFill>
                  <a:srgbClr val="4F81BD"/>
                </a:solidFill>
                <a:latin typeface="Verdana"/>
                <a:cs typeface="Verdana"/>
              </a:defRPr>
            </a:lvl1pPr>
          </a:lstStyle>
          <a:p>
            <a:r>
              <a:rPr lang="es-ES" dirty="0">
                <a:solidFill>
                  <a:schemeClr val="accent1"/>
                </a:solidFill>
              </a:rPr>
              <a:t>(Línea adicional) Subtema </a:t>
            </a:r>
            <a:r>
              <a:rPr lang="es-ES" dirty="0" err="1">
                <a:solidFill>
                  <a:schemeClr val="accent1"/>
                </a:solidFill>
              </a:rPr>
              <a:t>Verdana</a:t>
            </a:r>
            <a:r>
              <a:rPr lang="es-ES" dirty="0">
                <a:solidFill>
                  <a:schemeClr val="accent1"/>
                </a:solidFill>
              </a:rPr>
              <a:t> 18pt</a:t>
            </a:r>
          </a:p>
        </p:txBody>
      </p:sp>
    </p:spTree>
    <p:extLst>
      <p:ext uri="{BB962C8B-B14F-4D97-AF65-F5344CB8AC3E}">
        <p14:creationId xmlns:p14="http://schemas.microsoft.com/office/powerpoint/2010/main" val="2262509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NULL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oleObject" Target="../embeddings/oleObject6.bin"/><Relationship Id="rId5" Type="http://schemas.openxmlformats.org/officeDocument/2006/relationships/slideLayout" Target="../slideLayouts/slideLayout52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51.xml"/><Relationship Id="rId9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5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oleObject" Target="../embeddings/oleObject4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ags" Target="../tags/tag15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7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heme" Target="../theme/theme2.x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image" Target="NUL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Relationship Id="rId9" Type="http://schemas.openxmlformats.org/officeDocument/2006/relationships/image" Target="NUL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27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8.xml"/><Relationship Id="rId9" Type="http://schemas.openxmlformats.org/officeDocument/2006/relationships/oleObject" Target="../embeddings/oleObject4.bin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heme" Target="../theme/theme7.x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.png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8E60FF2-22CF-4235-8320-9612DBAE69D8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5667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395" imgH="396" progId="TCLayout.ActiveDocument.1">
                  <p:embed/>
                </p:oleObj>
              </mc:Choice>
              <mc:Fallback>
                <p:oleObj name="Diapositiva de think-cell" r:id="rId10" imgW="395" imgH="39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8E60FF2-22CF-4235-8320-9612DBAE6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6" descr="Complemento-Logo-Gobierno-160x14px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564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19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9" r:id="rId5"/>
    <p:sldLayoutId id="2147483671" r:id="rId6"/>
    <p:sldLayoutId id="2147483672" r:id="rId7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Complemento-Logo-Gobierno-160x14px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8" y="6692900"/>
            <a:ext cx="2709333" cy="17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894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364806F-77B2-49A2-9A16-E7CE42AA08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7517095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395" imgH="396" progId="TCLayout.ActiveDocument.1">
                  <p:embed/>
                </p:oleObj>
              </mc:Choice>
              <mc:Fallback>
                <p:oleObj name="Diapositiva de think-cell" r:id="rId11" imgW="395" imgH="39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9364806F-77B2-49A2-9A16-E7CE42AA0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6" descr="Complemento-Logo-Gobierno-160x14px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56439"/>
            <a:ext cx="2235827" cy="195635"/>
          </a:xfrm>
          <a:prstGeom prst="rect">
            <a:avLst/>
          </a:prstGeom>
        </p:spPr>
      </p:pic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3165E3BB-0E5A-4D81-8079-8A13D7796CCF}"/>
              </a:ext>
            </a:extLst>
          </p:cNvPr>
          <p:cNvSpPr txBox="1">
            <a:spLocks/>
          </p:cNvSpPr>
          <p:nvPr userDrawn="1"/>
        </p:nvSpPr>
        <p:spPr>
          <a:xfrm>
            <a:off x="9316000" y="6487525"/>
            <a:ext cx="27432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10838F-9F77-44FD-A9AF-8F7B74B74566}" type="slidenum">
              <a:rPr lang="es-MX" sz="1333" smtClean="0"/>
              <a:pPr/>
              <a:t>‹Nº›</a:t>
            </a:fld>
            <a:endParaRPr lang="es-MX" sz="1333"/>
          </a:p>
        </p:txBody>
      </p:sp>
    </p:spTree>
    <p:extLst>
      <p:ext uri="{BB962C8B-B14F-4D97-AF65-F5344CB8AC3E}">
        <p14:creationId xmlns:p14="http://schemas.microsoft.com/office/powerpoint/2010/main" val="1046250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9" r:id="rId4"/>
    <p:sldLayoutId id="2147483810" r:id="rId5"/>
    <p:sldLayoutId id="2147483811" r:id="rId6"/>
    <p:sldLayoutId id="2147483812" r:id="rId7"/>
    <p:sldLayoutId id="2147483813" r:id="rId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8E60FF2-22CF-4235-8320-9612DBAE69D8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395" imgH="396" progId="TCLayout.ActiveDocument.1">
                  <p:embed/>
                </p:oleObj>
              </mc:Choice>
              <mc:Fallback>
                <p:oleObj name="Diapositiva de think-cell" r:id="rId14" imgW="395" imgH="39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8E60FF2-22CF-4235-8320-9612DBAE6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6" descr="Complemento-Logo-Gobierno-160x14px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564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821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364806F-77B2-49A2-9A16-E7CE42AA08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7517095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3" imgW="395" imgH="396" progId="TCLayout.ActiveDocument.1">
                  <p:embed/>
                </p:oleObj>
              </mc:Choice>
              <mc:Fallback>
                <p:oleObj name="Diapositiva de think-cell" r:id="rId13" imgW="395" imgH="39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9364806F-77B2-49A2-9A16-E7CE42AA0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6" descr="Complemento-Logo-Gobierno-160x14px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56439"/>
            <a:ext cx="2235827" cy="195635"/>
          </a:xfrm>
          <a:prstGeom prst="rect">
            <a:avLst/>
          </a:prstGeom>
        </p:spPr>
      </p:pic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3165E3BB-0E5A-4D81-8079-8A13D7796CCF}"/>
              </a:ext>
            </a:extLst>
          </p:cNvPr>
          <p:cNvSpPr txBox="1">
            <a:spLocks/>
          </p:cNvSpPr>
          <p:nvPr userDrawn="1"/>
        </p:nvSpPr>
        <p:spPr>
          <a:xfrm>
            <a:off x="9316000" y="6487525"/>
            <a:ext cx="27432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10838F-9F77-44FD-A9AF-8F7B74B74566}" type="slidenum">
              <a:rPr lang="es-MX" sz="1333" smtClean="0"/>
              <a:pPr/>
              <a:t>‹Nº›</a:t>
            </a:fld>
            <a:endParaRPr lang="es-MX" sz="1333"/>
          </a:p>
        </p:txBody>
      </p:sp>
    </p:spTree>
    <p:extLst>
      <p:ext uri="{BB962C8B-B14F-4D97-AF65-F5344CB8AC3E}">
        <p14:creationId xmlns:p14="http://schemas.microsoft.com/office/powerpoint/2010/main" val="1419923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1" r:id="rId10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953840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1" i="0" baseline="0" dirty="0">
              <a:latin typeface="Candara" panose="020E0502030303020204" pitchFamily="34" charset="0"/>
              <a:ea typeface="+mj-ea"/>
              <a:cs typeface="+mj-cs"/>
              <a:sym typeface="Candara" panose="020E0502030303020204" pitchFamily="34" charset="0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5E10838F-9F77-44FD-A9AF-8F7B74B74566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7" name="10 Conector recto"/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6" descr="Complemento-Logo-Gobierno-160x14px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56439"/>
            <a:ext cx="2235827" cy="195635"/>
          </a:xfrm>
          <a:prstGeom prst="rect">
            <a:avLst/>
          </a:prstGeom>
        </p:spPr>
      </p:pic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3581FA0-798B-423A-BBB1-23041E3517E9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95150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2667" b="1" kern="1200">
          <a:solidFill>
            <a:schemeClr val="accent1">
              <a:lumMod val="50000"/>
            </a:schemeClr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2133" kern="1200">
          <a:solidFill>
            <a:schemeClr val="accent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133" kern="1200">
          <a:solidFill>
            <a:schemeClr val="accent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133" kern="1200">
          <a:solidFill>
            <a:schemeClr val="accent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133" kern="1200">
          <a:solidFill>
            <a:schemeClr val="accent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133" kern="1200">
          <a:solidFill>
            <a:schemeClr val="accent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6" descr="Complemento-Logo-Gobierno-160x14px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818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705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6" descr="Complemento-Logo-Gobierno-160x14px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564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053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90" r:id="rId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Complemento-Logo-Gobierno-160x14px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8" y="6692900"/>
            <a:ext cx="2709333" cy="17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779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8E60FF2-22CF-4235-8320-9612DBAE69D8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47888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395" imgH="396" progId="TCLayout.ActiveDocument.1">
                  <p:embed/>
                </p:oleObj>
              </mc:Choice>
              <mc:Fallback>
                <p:oleObj name="Diapositiva de think-cell" r:id="rId9" imgW="395" imgH="39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8E60FF2-22CF-4235-8320-9612DBAE6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6" descr="Complemento-Logo-Gobierno-160x14px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564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2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5" r:id="rId2"/>
    <p:sldLayoutId id="2147483711" r:id="rId3"/>
    <p:sldLayoutId id="2147483713" r:id="rId4"/>
    <p:sldLayoutId id="2147483757" r:id="rId5"/>
    <p:sldLayoutId id="2147483799" r:id="rId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1620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1" i="0" baseline="0" dirty="0">
              <a:latin typeface="Candara" panose="020E0502030303020204" pitchFamily="34" charset="0"/>
              <a:ea typeface="+mj-ea"/>
              <a:cs typeface="+mj-cs"/>
              <a:sym typeface="Candara" panose="020E0502030303020204" pitchFamily="34" charset="0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5E10838F-9F77-44FD-A9AF-8F7B74B74566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7" name="10 Conector recto"/>
          <p:cNvCxnSpPr/>
          <p:nvPr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6" descr="Complemento-Logo-Gobierno-160x14px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56439"/>
            <a:ext cx="2235827" cy="195635"/>
          </a:xfrm>
          <a:prstGeom prst="rect">
            <a:avLst/>
          </a:prstGeom>
        </p:spPr>
      </p:pic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3581FA0-798B-423A-BBB1-23041E3517E9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54171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2667" b="1" kern="1200">
          <a:solidFill>
            <a:schemeClr val="accent1">
              <a:lumMod val="50000"/>
            </a:schemeClr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2133" kern="1200">
          <a:solidFill>
            <a:schemeClr val="accent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133" kern="1200">
          <a:solidFill>
            <a:schemeClr val="accent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133" kern="1200">
          <a:solidFill>
            <a:schemeClr val="accent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133" kern="1200">
          <a:solidFill>
            <a:schemeClr val="accent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133" kern="1200">
          <a:solidFill>
            <a:schemeClr val="accent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6" descr="Complemento-Logo-Gobierno-160x14px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818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219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6" descr="Complemento-Logo-Gobierno-160x14px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67" y="6656439"/>
            <a:ext cx="2235827" cy="19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750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31" r:id="rId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18" Type="http://schemas.openxmlformats.org/officeDocument/2006/relationships/image" Target="../media/image18.svg"/><Relationship Id="rId3" Type="http://schemas.openxmlformats.org/officeDocument/2006/relationships/slideLayout" Target="../slideLayouts/slideLayout29.xml"/><Relationship Id="rId21" Type="http://schemas.openxmlformats.org/officeDocument/2006/relationships/image" Target="../media/image21.png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17" Type="http://schemas.openxmlformats.org/officeDocument/2006/relationships/image" Target="../media/image17.png"/><Relationship Id="rId2" Type="http://schemas.openxmlformats.org/officeDocument/2006/relationships/tags" Target="../tags/tag18.xml"/><Relationship Id="rId16" Type="http://schemas.openxmlformats.org/officeDocument/2006/relationships/image" Target="../media/image16.svg"/><Relationship Id="rId20" Type="http://schemas.openxmlformats.org/officeDocument/2006/relationships/image" Target="../media/image20.svg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19" Type="http://schemas.openxmlformats.org/officeDocument/2006/relationships/image" Target="../media/image19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9.png"/><Relationship Id="rId14" Type="http://schemas.openxmlformats.org/officeDocument/2006/relationships/image" Target="../media/image14.svg"/><Relationship Id="rId22" Type="http://schemas.openxmlformats.org/officeDocument/2006/relationships/image" Target="../media/image22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hyperlink" Target="https://www.youtube.com/watch?v=5isGyu04ooE" TargetMode="External"/><Relationship Id="rId2" Type="http://schemas.openxmlformats.org/officeDocument/2006/relationships/image" Target="../media/image49.tiff"/><Relationship Id="rId1" Type="http://schemas.openxmlformats.org/officeDocument/2006/relationships/slideLayout" Target="../slideLayouts/slideLayout49.xml"/><Relationship Id="rId6" Type="http://schemas.openxmlformats.org/officeDocument/2006/relationships/hyperlink" Target="https://www.youtube.com/watch?v=cI-w3tyk6SY" TargetMode="External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9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9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9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9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49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49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5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13" Type="http://schemas.openxmlformats.org/officeDocument/2006/relationships/image" Target="../media/image59.png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20.svg"/><Relationship Id="rId12" Type="http://schemas.openxmlformats.org/officeDocument/2006/relationships/image" Target="../media/image1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9.png"/><Relationship Id="rId11" Type="http://schemas.openxmlformats.org/officeDocument/2006/relationships/image" Target="../media/image11.png"/><Relationship Id="rId5" Type="http://schemas.openxmlformats.org/officeDocument/2006/relationships/image" Target="../media/image10.svg"/><Relationship Id="rId10" Type="http://schemas.openxmlformats.org/officeDocument/2006/relationships/image" Target="../media/image6.png"/><Relationship Id="rId4" Type="http://schemas.openxmlformats.org/officeDocument/2006/relationships/image" Target="../media/image9.png"/><Relationship Id="rId9" Type="http://schemas.openxmlformats.org/officeDocument/2006/relationships/image" Target="../media/image1.emf"/><Relationship Id="rId14" Type="http://schemas.openxmlformats.org/officeDocument/2006/relationships/image" Target="../media/image6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20.xml"/><Relationship Id="rId6" Type="http://schemas.openxmlformats.org/officeDocument/2006/relationships/image" Target="../media/image24.emf"/><Relationship Id="rId5" Type="http://schemas.openxmlformats.org/officeDocument/2006/relationships/image" Target="../media/image23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32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9.xml"/><Relationship Id="rId6" Type="http://schemas.microsoft.com/office/2007/relationships/diagramDrawing" Target="../diagrams/drawing1.xml"/><Relationship Id="rId11" Type="http://schemas.openxmlformats.org/officeDocument/2006/relationships/image" Target="../media/image30.svg"/><Relationship Id="rId5" Type="http://schemas.openxmlformats.org/officeDocument/2006/relationships/diagramColors" Target="../diagrams/colors1.xml"/><Relationship Id="rId15" Type="http://schemas.openxmlformats.org/officeDocument/2006/relationships/image" Target="../media/image34.svg"/><Relationship Id="rId10" Type="http://schemas.openxmlformats.org/officeDocument/2006/relationships/image" Target="../media/image29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47E74D0-B6D6-469F-9B7F-7A79E561E9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31354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47E74D0-B6D6-469F-9B7F-7A79E561E9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65153AB-0545-4307-B317-F6E6600012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ct val="0"/>
              </a:spcBef>
              <a:spcAft>
                <a:spcPct val="0"/>
              </a:spcAft>
            </a:pPr>
            <a:endParaRPr lang="es-CL" sz="6000" b="1" dirty="0">
              <a:solidFill>
                <a:prstClr val="white"/>
              </a:solidFill>
              <a:latin typeface="Candara" panose="020E0502030303020204" pitchFamily="34" charset="0"/>
              <a:ea typeface="+mj-ea"/>
              <a:cs typeface="+mj-cs"/>
              <a:sym typeface="Candara" panose="020E0502030303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634" y="532795"/>
            <a:ext cx="1130678" cy="1130678"/>
          </a:xfrm>
          <a:prstGeom prst="rect">
            <a:avLst/>
          </a:prstGeom>
        </p:spPr>
      </p:pic>
      <p:pic>
        <p:nvPicPr>
          <p:cNvPr id="27" name="Gráfico 26">
            <a:extLst>
              <a:ext uri="{FF2B5EF4-FFF2-40B4-BE49-F238E27FC236}">
                <a16:creationId xmlns:a16="http://schemas.microsoft.com/office/drawing/2014/main" id="{EC082579-DFB8-4CD3-BF6E-CF0E983C09C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6727" t="24256" r="21954" b="23200"/>
          <a:stretch/>
        </p:blipFill>
        <p:spPr>
          <a:xfrm>
            <a:off x="6946043" y="367088"/>
            <a:ext cx="4896972" cy="6161728"/>
          </a:xfrm>
          <a:prstGeom prst="rect">
            <a:avLst/>
          </a:prstGeom>
        </p:spPr>
      </p:pic>
      <p:pic>
        <p:nvPicPr>
          <p:cNvPr id="29" name="Gráfico 28">
            <a:extLst>
              <a:ext uri="{FF2B5EF4-FFF2-40B4-BE49-F238E27FC236}">
                <a16:creationId xmlns:a16="http://schemas.microsoft.com/office/drawing/2014/main" id="{FDE8AD7D-B006-435B-BB7B-9981D08BEDE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6200000">
            <a:off x="6301737" y="999464"/>
            <a:ext cx="6161728" cy="4896972"/>
          </a:xfrm>
          <a:prstGeom prst="rect">
            <a:avLst/>
          </a:prstGeom>
        </p:spPr>
      </p:pic>
      <p:pic>
        <p:nvPicPr>
          <p:cNvPr id="31" name="Gráfico 30">
            <a:extLst>
              <a:ext uri="{FF2B5EF4-FFF2-40B4-BE49-F238E27FC236}">
                <a16:creationId xmlns:a16="http://schemas.microsoft.com/office/drawing/2014/main" id="{1A1EA7C3-0FF5-4745-8061-000D2BFDF20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541178" y="329184"/>
            <a:ext cx="4520740" cy="5173862"/>
          </a:xfrm>
          <a:prstGeom prst="rect">
            <a:avLst/>
          </a:prstGeom>
        </p:spPr>
      </p:pic>
      <p:pic>
        <p:nvPicPr>
          <p:cNvPr id="43" name="Gráfico 42">
            <a:extLst>
              <a:ext uri="{FF2B5EF4-FFF2-40B4-BE49-F238E27FC236}">
                <a16:creationId xmlns:a16="http://schemas.microsoft.com/office/drawing/2014/main" id="{56EEDB35-FC4D-4E2B-9047-33614A9FCDD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100752" y="721366"/>
            <a:ext cx="2287357" cy="753535"/>
          </a:xfrm>
          <a:prstGeom prst="rect">
            <a:avLst/>
          </a:prstGeom>
        </p:spPr>
      </p:pic>
      <p:grpSp>
        <p:nvGrpSpPr>
          <p:cNvPr id="79" name="Grupo 78">
            <a:extLst>
              <a:ext uri="{FF2B5EF4-FFF2-40B4-BE49-F238E27FC236}">
                <a16:creationId xmlns:a16="http://schemas.microsoft.com/office/drawing/2014/main" id="{BA198078-5E15-4B73-892A-6A4A2A589427}"/>
              </a:ext>
            </a:extLst>
          </p:cNvPr>
          <p:cNvGrpSpPr/>
          <p:nvPr/>
        </p:nvGrpSpPr>
        <p:grpSpPr>
          <a:xfrm>
            <a:off x="130082" y="320432"/>
            <a:ext cx="11671919" cy="6199630"/>
            <a:chOff x="345212" y="390574"/>
            <a:chExt cx="11671919" cy="6199630"/>
          </a:xfrm>
        </p:grpSpPr>
        <p:pic>
          <p:nvPicPr>
            <p:cNvPr id="73" name="Gráfico 72">
              <a:extLst>
                <a:ext uri="{FF2B5EF4-FFF2-40B4-BE49-F238E27FC236}">
                  <a16:creationId xmlns:a16="http://schemas.microsoft.com/office/drawing/2014/main" id="{CBAAD089-4567-447F-835E-0E797E9011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t="10132" r="20670" b="23331"/>
            <a:stretch/>
          </p:blipFill>
          <p:spPr>
            <a:xfrm>
              <a:off x="345212" y="2066544"/>
              <a:ext cx="6950656" cy="4424368"/>
            </a:xfrm>
            <a:prstGeom prst="rect">
              <a:avLst/>
            </a:prstGeom>
          </p:spPr>
        </p:pic>
        <p:sp>
          <p:nvSpPr>
            <p:cNvPr id="40" name="Elipse 39">
              <a:extLst>
                <a:ext uri="{FF2B5EF4-FFF2-40B4-BE49-F238E27FC236}">
                  <a16:creationId xmlns:a16="http://schemas.microsoft.com/office/drawing/2014/main" id="{6773FC20-E739-4118-85E6-271F10A721AB}"/>
                </a:ext>
              </a:extLst>
            </p:cNvPr>
            <p:cNvSpPr/>
            <p:nvPr/>
          </p:nvSpPr>
          <p:spPr>
            <a:xfrm>
              <a:off x="6444756" y="2667106"/>
              <a:ext cx="710721" cy="664716"/>
            </a:xfrm>
            <a:prstGeom prst="ellipse">
              <a:avLst/>
            </a:prstGeom>
            <a:solidFill>
              <a:srgbClr val="0FBAC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41" name="Elipse 40">
              <a:extLst>
                <a:ext uri="{FF2B5EF4-FFF2-40B4-BE49-F238E27FC236}">
                  <a16:creationId xmlns:a16="http://schemas.microsoft.com/office/drawing/2014/main" id="{4C67C336-F9E8-4D45-AB92-D429471F54CD}"/>
                </a:ext>
              </a:extLst>
            </p:cNvPr>
            <p:cNvSpPr/>
            <p:nvPr/>
          </p:nvSpPr>
          <p:spPr>
            <a:xfrm>
              <a:off x="7064284" y="3350774"/>
              <a:ext cx="416213" cy="389272"/>
            </a:xfrm>
            <a:prstGeom prst="ellipse">
              <a:avLst/>
            </a:prstGeom>
            <a:solidFill>
              <a:srgbClr val="0FBAC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pic>
          <p:nvPicPr>
            <p:cNvPr id="45" name="Gráfico 44">
              <a:extLst>
                <a:ext uri="{FF2B5EF4-FFF2-40B4-BE49-F238E27FC236}">
                  <a16:creationId xmlns:a16="http://schemas.microsoft.com/office/drawing/2014/main" id="{95C46759-22B0-4B70-A25A-C8FC10486C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09006" y="4026227"/>
              <a:ext cx="2864843" cy="2502587"/>
            </a:xfrm>
            <a:prstGeom prst="rect">
              <a:avLst/>
            </a:prstGeom>
          </p:spPr>
        </p:pic>
        <p:pic>
          <p:nvPicPr>
            <p:cNvPr id="78" name="Gráfico 77">
              <a:extLst>
                <a:ext uri="{FF2B5EF4-FFF2-40B4-BE49-F238E27FC236}">
                  <a16:creationId xmlns:a16="http://schemas.microsoft.com/office/drawing/2014/main" id="{3E0F66C3-4D43-4990-BE0C-944ADC0ECB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 t="8425" b="1175"/>
            <a:stretch/>
          </p:blipFill>
          <p:spPr>
            <a:xfrm>
              <a:off x="6980135" y="390574"/>
              <a:ext cx="5036996" cy="6199630"/>
            </a:xfrm>
            <a:prstGeom prst="rect">
              <a:avLst/>
            </a:prstGeom>
          </p:spPr>
        </p:pic>
        <p:pic>
          <p:nvPicPr>
            <p:cNvPr id="39" name="Gráfico 38">
              <a:extLst>
                <a:ext uri="{FF2B5EF4-FFF2-40B4-BE49-F238E27FC236}">
                  <a16:creationId xmlns:a16="http://schemas.microsoft.com/office/drawing/2014/main" id="{41BF0CF1-7048-42FD-BA9F-BAB81517625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8708451" y="4589534"/>
              <a:ext cx="2623043" cy="1569949"/>
            </a:xfrm>
            <a:prstGeom prst="rect">
              <a:avLst/>
            </a:prstGeom>
          </p:spPr>
        </p:pic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8C30CD93-30A6-4C66-A26E-B1EE7AF3EC32}"/>
              </a:ext>
            </a:extLst>
          </p:cNvPr>
          <p:cNvSpPr txBox="1"/>
          <p:nvPr/>
        </p:nvSpPr>
        <p:spPr>
          <a:xfrm>
            <a:off x="1288240" y="5547801"/>
            <a:ext cx="444405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s-CL" sz="105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ea typeface="Roboto" panose="02000000000000000000" pitchFamily="2" charset="0"/>
              </a:rPr>
              <a:t>Departamento de Salud Digital</a:t>
            </a:r>
          </a:p>
          <a:p>
            <a:pPr algn="ctr" defTabSz="914377"/>
            <a:r>
              <a:rPr lang="es-CL" sz="105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ea typeface="Roboto" panose="02000000000000000000" pitchFamily="2" charset="0"/>
              </a:rPr>
              <a:t>Subsecretaría de Redes Asistenciales</a:t>
            </a:r>
          </a:p>
          <a:p>
            <a:pPr algn="ctr" defTabSz="914377"/>
            <a:r>
              <a:rPr lang="es-CL" sz="105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ea typeface="Roboto" panose="02000000000000000000" pitchFamily="2" charset="0"/>
              </a:rPr>
              <a:t>Ministerio de Salud</a:t>
            </a:r>
          </a:p>
          <a:p>
            <a:pPr algn="ctr" defTabSz="914377"/>
            <a:endParaRPr lang="es-CL" sz="1050" dirty="0">
              <a:solidFill>
                <a:schemeClr val="bg1">
                  <a:lumMod val="50000"/>
                </a:schemeClr>
              </a:solidFill>
              <a:latin typeface="Corbel" panose="020B0503020204020204" pitchFamily="34" charset="0"/>
              <a:ea typeface="Roboto" panose="02000000000000000000" pitchFamily="2" charset="0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1930D09D-862E-4587-9BBB-E4986C3FB8E2}"/>
              </a:ext>
            </a:extLst>
          </p:cNvPr>
          <p:cNvSpPr txBox="1"/>
          <p:nvPr/>
        </p:nvSpPr>
        <p:spPr>
          <a:xfrm>
            <a:off x="814600" y="2402001"/>
            <a:ext cx="5409062" cy="2473845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algn="ctr"/>
            <a:r>
              <a:rPr lang="es-MX" sz="3600" b="1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ea typeface="Roboto" panose="02000000000000000000" pitchFamily="2" charset="0"/>
                <a:cs typeface="Candara"/>
              </a:rPr>
              <a:t>S</a:t>
            </a:r>
            <a:r>
              <a:rPr lang="es-CL" sz="3600" b="1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ea typeface="Roboto" panose="02000000000000000000" pitchFamily="2" charset="0"/>
                <a:cs typeface="Candara"/>
              </a:rPr>
              <a:t>alud Digital </a:t>
            </a:r>
          </a:p>
          <a:p>
            <a:pPr algn="ctr"/>
            <a:r>
              <a:rPr lang="es-CL" sz="3600" b="1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ea typeface="Roboto" panose="02000000000000000000" pitchFamily="2" charset="0"/>
                <a:cs typeface="Candara"/>
              </a:rPr>
              <a:t>Servicio de Salud Tarapacá</a:t>
            </a:r>
          </a:p>
          <a:p>
            <a:pPr algn="ctr"/>
            <a:endParaRPr lang="es-CL" sz="4000" b="1" dirty="0">
              <a:solidFill>
                <a:schemeClr val="bg1">
                  <a:lumMod val="50000"/>
                </a:schemeClr>
              </a:solidFill>
              <a:latin typeface="Corbel" panose="020B0503020204020204" pitchFamily="34" charset="0"/>
              <a:ea typeface="Roboto" panose="02000000000000000000" pitchFamily="2" charset="0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72035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4D5FEAE8-F5B2-D61D-29D7-B8E5FFAA2A14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anchor="ctr"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/>
              <a:buNone/>
            </a:pP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Flujo de Atención </a:t>
            </a:r>
          </a:p>
        </p:txBody>
      </p:sp>
      <p:pic>
        <p:nvPicPr>
          <p:cNvPr id="17" name="Picture 4">
            <a:extLst>
              <a:ext uri="{FF2B5EF4-FFF2-40B4-BE49-F238E27FC236}">
                <a16:creationId xmlns:a16="http://schemas.microsoft.com/office/drawing/2014/main" id="{CF40DBC0-697F-C9CF-AAC0-DD68AE9676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720" y="531405"/>
            <a:ext cx="10302559" cy="5795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4769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5FF16224-A1E8-BFD0-9D71-53A8C9D9E013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anchor="ctr"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s-CL" sz="2800" b="1" i="0" u="none" strike="noStrike" kern="1200" cap="none" spc="0" normalizeH="0" baseline="0" noProof="0" dirty="0">
              <a:ln>
                <a:noFill/>
              </a:ln>
              <a:solidFill>
                <a:srgbClr val="587682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96E29063-6D62-F7DD-E17C-138105EBD0E6}"/>
              </a:ext>
            </a:extLst>
          </p:cNvPr>
          <p:cNvSpPr txBox="1"/>
          <p:nvPr/>
        </p:nvSpPr>
        <p:spPr>
          <a:xfrm>
            <a:off x="2575421" y="170050"/>
            <a:ext cx="6059779" cy="504075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dirty="0">
                <a:solidFill>
                  <a:srgbClr val="587682"/>
                </a:solidFill>
                <a:latin typeface="Corbel" panose="020B0503020204020204" pitchFamily="34" charset="0"/>
                <a:cs typeface="Candara"/>
              </a:rPr>
              <a:t>CÉLULA DE DIABETES </a:t>
            </a:r>
            <a:endParaRPr kumimoji="0" lang="es-ES" sz="2000" b="1" i="0" u="none" strike="noStrike" kern="1200" cap="none" spc="0" normalizeH="0" baseline="0" noProof="0" dirty="0">
              <a:ln>
                <a:noFill/>
              </a:ln>
              <a:solidFill>
                <a:srgbClr val="587682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Candara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4CB630E-6C78-E5CD-05AD-128EA88699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202" y="1206615"/>
            <a:ext cx="1438781" cy="871804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46AD8283-FF94-BF13-00AE-39042CC2C1DE}"/>
              </a:ext>
            </a:extLst>
          </p:cNvPr>
          <p:cNvSpPr txBox="1"/>
          <p:nvPr/>
        </p:nvSpPr>
        <p:spPr>
          <a:xfrm>
            <a:off x="2618706" y="1093466"/>
            <a:ext cx="7968199" cy="934962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r>
              <a:rPr lang="es-MX" sz="1600" dirty="0">
                <a:solidFill>
                  <a:srgbClr val="61828F"/>
                </a:solidFill>
                <a:latin typeface="Corbel" panose="020B0503020204020204" pitchFamily="34" charset="0"/>
                <a:cs typeface="Candara"/>
              </a:rPr>
              <a:t>Contribuir a la red asistencial en el manejo de usuarios con DM2 mejorando los niveles de compensación y así disminuir las complicaciones asociadas a la enfermedad y la demanda para atención presencial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A2C8B3E-8466-E2B3-B24E-871F02BB0591}"/>
              </a:ext>
            </a:extLst>
          </p:cNvPr>
          <p:cNvSpPr txBox="1"/>
          <p:nvPr/>
        </p:nvSpPr>
        <p:spPr>
          <a:xfrm>
            <a:off x="787845" y="2910196"/>
            <a:ext cx="3984771" cy="2350734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587682"/>
                </a:solidFill>
                <a:effectLst/>
                <a:uLnTx/>
                <a:uFillTx/>
                <a:latin typeface="Candara"/>
                <a:ea typeface="+mn-ea"/>
                <a:cs typeface="Candara"/>
              </a:rPr>
              <a:t>CRITERIOS DE DERIVACIÓN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srgbClr val="587682"/>
              </a:solidFill>
              <a:effectLst/>
              <a:uLnTx/>
              <a:uFillTx/>
              <a:latin typeface="Candara"/>
              <a:ea typeface="+mn-ea"/>
              <a:cs typeface="Candara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s-CL" sz="1400" dirty="0">
                <a:solidFill>
                  <a:srgbClr val="587682"/>
                </a:solidFill>
                <a:latin typeface="Candara"/>
                <a:cs typeface="Candara"/>
              </a:rPr>
              <a:t>HbA1c &gt; 8%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s-CL" sz="1400" dirty="0">
                <a:solidFill>
                  <a:srgbClr val="587682"/>
                </a:solidFill>
                <a:latin typeface="Candara"/>
                <a:cs typeface="Candara"/>
              </a:rPr>
              <a:t>Diabetes gestacional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587682"/>
                </a:solidFill>
                <a:effectLst/>
                <a:uLnTx/>
                <a:uFillTx/>
                <a:latin typeface="Candara"/>
                <a:ea typeface="+mn-ea"/>
                <a:cs typeface="Candara"/>
              </a:rPr>
              <a:t>Usuarios diabéticos con complicaciones  asociadas: neuropatía, nefropatía, retinopatía.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-CL" sz="1400" b="0" i="0" u="none" strike="noStrike" kern="1200" cap="none" spc="0" normalizeH="0" baseline="0" noProof="0" dirty="0">
              <a:ln>
                <a:noFill/>
              </a:ln>
              <a:solidFill>
                <a:srgbClr val="587682"/>
              </a:solidFill>
              <a:effectLst/>
              <a:uLnTx/>
              <a:uFillTx/>
              <a:latin typeface="Candara"/>
              <a:ea typeface="+mn-ea"/>
              <a:cs typeface="Candara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CL" sz="1400" b="1" dirty="0">
                <a:solidFill>
                  <a:srgbClr val="587682"/>
                </a:solidFill>
                <a:latin typeface="Candara"/>
                <a:cs typeface="Candara"/>
              </a:rPr>
              <a:t>No derivar: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L" sz="1400" dirty="0">
                <a:solidFill>
                  <a:srgbClr val="587682"/>
                </a:solidFill>
                <a:latin typeface="Candara"/>
                <a:cs typeface="Candara"/>
              </a:rPr>
              <a:t>Diabetes tipo I </a:t>
            </a:r>
            <a:endParaRPr kumimoji="0" lang="es-CL" sz="1400" b="0" i="0" u="none" strike="noStrike" kern="1200" cap="none" spc="0" normalizeH="0" baseline="0" noProof="0" dirty="0">
              <a:ln>
                <a:noFill/>
              </a:ln>
              <a:solidFill>
                <a:srgbClr val="587682"/>
              </a:solidFill>
              <a:effectLst/>
              <a:uLnTx/>
              <a:uFillTx/>
              <a:latin typeface="Candara"/>
              <a:ea typeface="+mn-ea"/>
              <a:cs typeface="Candara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FEA8F0CE-D89C-C229-2DEF-7C5CEE697F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20578" y="2078419"/>
            <a:ext cx="4878002" cy="4061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517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96E29063-6D62-F7DD-E17C-138105EBD0E6}"/>
              </a:ext>
            </a:extLst>
          </p:cNvPr>
          <p:cNvSpPr txBox="1"/>
          <p:nvPr/>
        </p:nvSpPr>
        <p:spPr>
          <a:xfrm>
            <a:off x="2618707" y="113887"/>
            <a:ext cx="6059779" cy="504075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58768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ndara"/>
              </a:rPr>
              <a:t>CÉLULA DE GERIATRIA  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8307BA0-59B6-4CB0-6478-611BA9A9AB83}"/>
              </a:ext>
            </a:extLst>
          </p:cNvPr>
          <p:cNvSpPr txBox="1"/>
          <p:nvPr/>
        </p:nvSpPr>
        <p:spPr>
          <a:xfrm>
            <a:off x="2618706" y="1093466"/>
            <a:ext cx="7968199" cy="934962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b="0" i="0" u="none" strike="noStrike" kern="1200" cap="none" spc="0" normalizeH="0" baseline="0" noProof="0" dirty="0">
                <a:ln>
                  <a:noFill/>
                </a:ln>
                <a:solidFill>
                  <a:srgbClr val="61828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ndara"/>
              </a:rPr>
              <a:t>Contribuir a la red asistencial en el manejo geriátrico integral y equitativo de las personas mayores, en cualquier tipo </a:t>
            </a:r>
            <a:r>
              <a:rPr kumimoji="0" lang="es-MX" sz="1600" b="0" i="0" u="none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ndara"/>
              </a:rPr>
              <a:t>de</a:t>
            </a:r>
            <a:r>
              <a:rPr kumimoji="0" lang="es-MX" sz="1600" b="0" i="0" u="none" strike="noStrike" kern="1200" cap="none" spc="0" normalizeH="0" baseline="0" noProof="0" dirty="0">
                <a:ln>
                  <a:noFill/>
                </a:ln>
                <a:solidFill>
                  <a:srgbClr val="61828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ndara"/>
              </a:rPr>
              <a:t> condición de funcionalidad, a través de la estrategia de telemedicina asincrónica ofertada por la célula de geriatría del Hospital Digital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9BA44E01-F1AF-B683-726A-46CD0F0C8464}"/>
              </a:ext>
            </a:extLst>
          </p:cNvPr>
          <p:cNvSpPr txBox="1"/>
          <p:nvPr/>
        </p:nvSpPr>
        <p:spPr>
          <a:xfrm>
            <a:off x="1031062" y="3044577"/>
            <a:ext cx="4731390" cy="2566178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sng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Criterios de derivació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078"/>
              </a:buClr>
              <a:buSzPts val="1400"/>
              <a:buFont typeface="Arial"/>
              <a:buChar char="•"/>
              <a:tabLst/>
              <a:defRPr/>
            </a:pPr>
            <a:r>
              <a:rPr kumimoji="0" lang="es-MX" sz="1400" b="0" i="0" u="sng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&gt;5</a:t>
            </a: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 fármacos crónicos    y/o</a:t>
            </a:r>
            <a:endParaRPr kumimoji="0" lang="es-MX" sz="1400" b="0" i="0" u="sng" strike="noStrike" kern="1200" cap="none" spc="0" normalizeH="0" baseline="0" noProof="0" dirty="0">
              <a:ln>
                <a:noFill/>
              </a:ln>
              <a:solidFill>
                <a:srgbClr val="688794"/>
              </a:solidFill>
              <a:effectLst/>
              <a:uLnTx/>
              <a:uFillTx/>
              <a:latin typeface="Candara"/>
              <a:ea typeface="Candara"/>
              <a:cs typeface="Candara"/>
              <a:sym typeface="Candar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078"/>
              </a:buClr>
              <a:buSzPts val="1400"/>
              <a:buFont typeface="Arial"/>
              <a:buChar char="•"/>
              <a:tabLst/>
              <a:defRPr/>
            </a:pPr>
            <a:r>
              <a:rPr kumimoji="0" lang="es-MX" sz="1400" b="0" i="0" u="sng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&gt;</a:t>
            </a: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5 multimorbilidad         y/o</a:t>
            </a: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srgbClr val="68879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078"/>
              </a:buClr>
              <a:buSzPts val="1400"/>
              <a:buFont typeface="Arial"/>
              <a:buChar char="•"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Caída &gt;15 puntos Barthel / año y/o</a:t>
            </a: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srgbClr val="68879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Arial"/>
              <a:buChar char="•"/>
              <a:tabLst/>
              <a:defRPr/>
            </a:pP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Acompañamiento GES 85</a:t>
            </a: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srgbClr val="68879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E4E79"/>
              </a:buClr>
              <a:buSzPts val="1400"/>
              <a:buFont typeface="Arial"/>
              <a:buChar char="•"/>
              <a:tabLst/>
              <a:defRPr/>
            </a:pPr>
            <a:r>
              <a:rPr kumimoji="0" lang="es-MX" sz="1400" b="1" i="0" u="sng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Cualquier duda clínica,  y/o diagnóstica, terapéutica en personas &gt;60 años</a:t>
            </a: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srgbClr val="68879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400" b="0" i="0" u="none" strike="noStrike" kern="1200" cap="none" spc="0" normalizeH="0" baseline="0" noProof="0" dirty="0">
              <a:ln>
                <a:noFill/>
              </a:ln>
              <a:solidFill>
                <a:srgbClr val="688794"/>
              </a:solidFill>
              <a:effectLst/>
              <a:uLnTx/>
              <a:uFillTx/>
              <a:latin typeface="Candara"/>
              <a:ea typeface="Candara"/>
              <a:cs typeface="Candara"/>
              <a:sym typeface="Canda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No derivar:</a:t>
            </a: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srgbClr val="68879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078"/>
              </a:buClr>
              <a:buSzPts val="1400"/>
              <a:buFont typeface="Arial"/>
              <a:buChar char="•"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Delirium (enviar a servicio de urgencia).</a:t>
            </a: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srgbClr val="68879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078"/>
              </a:buClr>
              <a:buSzPts val="1400"/>
              <a:buFont typeface="Arial"/>
              <a:buChar char="•"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Cualquier condición que corresponda a una urgencia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6FEE808-7BB2-22FA-2917-BBA7EE9149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6251" y="2395273"/>
            <a:ext cx="3989889" cy="3864785"/>
          </a:xfrm>
          <a:prstGeom prst="rect">
            <a:avLst/>
          </a:prstGeom>
        </p:spPr>
      </p:pic>
      <p:pic>
        <p:nvPicPr>
          <p:cNvPr id="4" name="Imagen 3" descr="Imagen que contiene Logotipo&#10;&#10;Descripción generada automáticamente">
            <a:extLst>
              <a:ext uri="{FF2B5EF4-FFF2-40B4-BE49-F238E27FC236}">
                <a16:creationId xmlns:a16="http://schemas.microsoft.com/office/drawing/2014/main" id="{1452CCDE-EAB1-8A00-D2CD-2C6206ABF44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981" y="1093466"/>
            <a:ext cx="1749245" cy="1055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423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5C6602B3-BE81-43E6-E5AF-4507A28F19F5}"/>
              </a:ext>
            </a:extLst>
          </p:cNvPr>
          <p:cNvSpPr txBox="1"/>
          <p:nvPr/>
        </p:nvSpPr>
        <p:spPr>
          <a:xfrm>
            <a:off x="2618707" y="113887"/>
            <a:ext cx="6059779" cy="504075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58768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ndara"/>
              </a:rPr>
              <a:t>CÉLULA DE NEFROLOGIA  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C8D472B-0B91-D9DD-B48C-86181986B5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706" y="1016570"/>
            <a:ext cx="1566808" cy="1469263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19CDEB-A2BD-3563-BE03-03666D17C626}"/>
              </a:ext>
            </a:extLst>
          </p:cNvPr>
          <p:cNvSpPr txBox="1"/>
          <p:nvPr/>
        </p:nvSpPr>
        <p:spPr>
          <a:xfrm>
            <a:off x="2618706" y="1093466"/>
            <a:ext cx="7968199" cy="1181183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b="0" i="0" u="none" strike="noStrike" kern="1200" cap="none" spc="0" normalizeH="0" baseline="0" noProof="0" dirty="0">
                <a:ln>
                  <a:noFill/>
                </a:ln>
                <a:solidFill>
                  <a:srgbClr val="61828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ndara"/>
              </a:rPr>
              <a:t>Modelo complementario de </a:t>
            </a:r>
            <a:r>
              <a:rPr kumimoji="0" lang="es-MX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1828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ndara"/>
              </a:rPr>
              <a:t>Telenefrología</a:t>
            </a:r>
            <a:r>
              <a:rPr kumimoji="0" lang="es-MX" sz="1600" b="0" i="0" u="none" strike="noStrike" kern="1200" cap="none" spc="0" normalizeH="0" baseline="0" noProof="0" dirty="0">
                <a:ln>
                  <a:noFill/>
                </a:ln>
                <a:solidFill>
                  <a:srgbClr val="61828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ndara"/>
              </a:rPr>
              <a:t> que permite mejor detección precoz y la atención oportuna de las afecciones renales. Se busca apoyar a la red ante dudas relacionadas con diagnostico y tratamiento, entregando asesoría rápida y oportuna por especialistas de Hospital Digital 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6BB6EC4-7691-EA3F-51CC-F7AAD30A5F1E}"/>
              </a:ext>
            </a:extLst>
          </p:cNvPr>
          <p:cNvSpPr txBox="1"/>
          <p:nvPr/>
        </p:nvSpPr>
        <p:spPr>
          <a:xfrm>
            <a:off x="210273" y="2485833"/>
            <a:ext cx="8116423" cy="1704404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sng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Criterios de derivació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Usuarios adultos con diagnostico de ERC que muestre disminución de función renal progresiva y que requiera evaluación por especialist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VFGe</a:t>
            </a: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 &lt; 3oml/min/173 mt2 (Etapa 4 o 5) con o sin DM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400" b="1" i="0" u="none" strike="noStrike" kern="1200" cap="none" spc="0" normalizeH="0" baseline="0" noProof="0" dirty="0">
              <a:ln>
                <a:noFill/>
              </a:ln>
              <a:solidFill>
                <a:srgbClr val="688794"/>
              </a:solidFill>
              <a:effectLst/>
              <a:uLnTx/>
              <a:uFillTx/>
              <a:latin typeface="Candara"/>
              <a:ea typeface="Candara"/>
              <a:cs typeface="Candara"/>
              <a:sym typeface="Canda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No derivar:</a:t>
            </a: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srgbClr val="68879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078"/>
              </a:buClr>
              <a:buSzPts val="1400"/>
              <a:buFont typeface="Arial"/>
              <a:buChar char="•"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Pacientes manejo de urgencia 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F64F56E-B417-3A24-F364-AD64319633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1331" y="3086253"/>
            <a:ext cx="2726599" cy="372545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718DEC3C-A705-026A-1097-0FC0478762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78486" y="3086252"/>
            <a:ext cx="3032868" cy="2678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032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96E29063-6D62-F7DD-E17C-138105EBD0E6}"/>
              </a:ext>
            </a:extLst>
          </p:cNvPr>
          <p:cNvSpPr txBox="1"/>
          <p:nvPr/>
        </p:nvSpPr>
        <p:spPr>
          <a:xfrm>
            <a:off x="2618707" y="113887"/>
            <a:ext cx="6059779" cy="504075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58768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ndara"/>
              </a:rPr>
              <a:t>CÉLULA DE DERMATOLOGIA  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9BA44E01-F1AF-B683-726A-46CD0F0C8464}"/>
              </a:ext>
            </a:extLst>
          </p:cNvPr>
          <p:cNvSpPr txBox="1"/>
          <p:nvPr/>
        </p:nvSpPr>
        <p:spPr>
          <a:xfrm>
            <a:off x="1725335" y="3086162"/>
            <a:ext cx="4731390" cy="1550515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sng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Candara"/>
                <a:cs typeface="Candara"/>
                <a:sym typeface="Candara"/>
              </a:rPr>
              <a:t>Criterios de derivació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078"/>
              </a:buClr>
              <a:buSzPts val="1400"/>
              <a:buFont typeface="Arial"/>
              <a:buChar char="•"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+mn-ea"/>
                <a:cs typeface="+mn-cs"/>
                <a:sym typeface="Candara"/>
              </a:rPr>
              <a:t>Todos los usuarios que consulten y presenten patologías dermatológicas y que requieran evaluación por especialista sin rango </a:t>
            </a:r>
            <a:r>
              <a:rPr kumimoji="0" lang="es-MX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88794"/>
                </a:solidFill>
                <a:effectLst/>
                <a:uLnTx/>
                <a:uFillTx/>
                <a:latin typeface="Candara"/>
                <a:ea typeface="+mn-ea"/>
                <a:cs typeface="+mn-cs"/>
                <a:sym typeface="Candara"/>
              </a:rPr>
              <a:t>etareo</a:t>
            </a:r>
            <a:endParaRPr kumimoji="0" lang="es-MX" sz="1400" b="0" i="0" u="none" strike="noStrike" kern="1200" cap="none" spc="0" normalizeH="0" baseline="0" noProof="0" dirty="0">
              <a:ln>
                <a:noFill/>
              </a:ln>
              <a:solidFill>
                <a:srgbClr val="688794"/>
              </a:solidFill>
              <a:effectLst/>
              <a:uLnTx/>
              <a:uFillTx/>
              <a:latin typeface="Candara"/>
              <a:ea typeface="+mn-ea"/>
              <a:cs typeface="+mn-cs"/>
              <a:sym typeface="Canda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078"/>
              </a:buClr>
              <a:buSzPts val="1400"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srgbClr val="68879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400" b="0" i="0" u="none" strike="noStrike" kern="1200" cap="none" spc="0" normalizeH="0" baseline="0" noProof="0" dirty="0">
              <a:ln>
                <a:noFill/>
              </a:ln>
              <a:solidFill>
                <a:srgbClr val="688794"/>
              </a:solidFill>
              <a:effectLst/>
              <a:uLnTx/>
              <a:uFillTx/>
              <a:latin typeface="Candara"/>
              <a:ea typeface="Candara"/>
              <a:cs typeface="Candara"/>
              <a:sym typeface="Candara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02355DD1-4922-A28B-9CCF-D111C63EBF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1779" y="1093466"/>
            <a:ext cx="1207113" cy="1127858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3303BEF4-4FCD-81EF-A767-895CDC722007}"/>
              </a:ext>
            </a:extLst>
          </p:cNvPr>
          <p:cNvSpPr txBox="1"/>
          <p:nvPr/>
        </p:nvSpPr>
        <p:spPr>
          <a:xfrm>
            <a:off x="2618706" y="1093466"/>
            <a:ext cx="7968199" cy="1181183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b="0" i="0" u="none" strike="noStrike" kern="1200" cap="none" spc="0" normalizeH="0" baseline="0" noProof="0" dirty="0">
                <a:ln>
                  <a:noFill/>
                </a:ln>
                <a:solidFill>
                  <a:srgbClr val="61828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Candara"/>
              </a:rPr>
              <a:t>Modelo complementario de Teledermatología que permite mejor detección precoz y la atención oportuna de patologías dermatológicas. Se busca apoyar a la red ante dudas relacionadas con diagnostico y tratamiento, entregando asesoría rápida y oportuna por especialistas de Hospital Digital </a:t>
            </a:r>
          </a:p>
        </p:txBody>
      </p:sp>
    </p:spTree>
    <p:extLst>
      <p:ext uri="{BB962C8B-B14F-4D97-AF65-F5344CB8AC3E}">
        <p14:creationId xmlns:p14="http://schemas.microsoft.com/office/powerpoint/2010/main" val="407268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428C6DA9-F449-46F2-BB17-C015EEC56B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41" y="1474836"/>
            <a:ext cx="3045540" cy="2902780"/>
          </a:xfrm>
          <a:prstGeom prst="rect">
            <a:avLst/>
          </a:prstGeom>
        </p:spPr>
      </p:pic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CF50A3A9-2AE7-4199-A64E-5A29AB6F73A2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Célula de Dermatología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DBBC169-268A-40DB-9773-A606CF5A2B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4768" y="699250"/>
            <a:ext cx="4535817" cy="3023878"/>
          </a:xfrm>
          <a:prstGeom prst="rect">
            <a:avLst/>
          </a:prstGeom>
        </p:spPr>
      </p:pic>
      <p:sp>
        <p:nvSpPr>
          <p:cNvPr id="5" name="Rectángulo redondeado 12">
            <a:extLst>
              <a:ext uri="{FF2B5EF4-FFF2-40B4-BE49-F238E27FC236}">
                <a16:creationId xmlns:a16="http://schemas.microsoft.com/office/drawing/2014/main" id="{DB29C82C-6638-412D-88A9-EF0AA8248DAA}"/>
              </a:ext>
            </a:extLst>
          </p:cNvPr>
          <p:cNvSpPr/>
          <p:nvPr/>
        </p:nvSpPr>
        <p:spPr>
          <a:xfrm>
            <a:off x="4912676" y="380136"/>
            <a:ext cx="2194491" cy="638227"/>
          </a:xfrm>
          <a:prstGeom prst="roundRect">
            <a:avLst/>
          </a:pr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12700" cap="flat" cmpd="sng" algn="ctr">
            <a:solidFill>
              <a:srgbClr val="4472C4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to zona anatómica</a:t>
            </a:r>
          </a:p>
        </p:txBody>
      </p:sp>
      <p:sp>
        <p:nvSpPr>
          <p:cNvPr id="6" name="Rectángulo redondeado 7">
            <a:extLst>
              <a:ext uri="{FF2B5EF4-FFF2-40B4-BE49-F238E27FC236}">
                <a16:creationId xmlns:a16="http://schemas.microsoft.com/office/drawing/2014/main" id="{463455B6-675A-4E29-B5D1-8EF4DFE81200}"/>
              </a:ext>
            </a:extLst>
          </p:cNvPr>
          <p:cNvSpPr/>
          <p:nvPr/>
        </p:nvSpPr>
        <p:spPr>
          <a:xfrm>
            <a:off x="264154" y="905185"/>
            <a:ext cx="3870891" cy="638227"/>
          </a:xfrm>
          <a:prstGeom prst="roundRect">
            <a:avLst/>
          </a:pr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12700" cap="flat" cmpd="sng" algn="ctr">
            <a:solidFill>
              <a:srgbClr val="4472C4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ma de la fotografía dermatoscópica</a:t>
            </a:r>
          </a:p>
        </p:txBody>
      </p:sp>
      <p:pic>
        <p:nvPicPr>
          <p:cNvPr id="7" name="Picture 2" descr="C:\Users\Jose Luis\Desktop\Teledermato\teledermatologia\Arze Cyr Luis Elias - CBC (5).JPG">
            <a:extLst>
              <a:ext uri="{FF2B5EF4-FFF2-40B4-BE49-F238E27FC236}">
                <a16:creationId xmlns:a16="http://schemas.microsoft.com/office/drawing/2014/main" id="{13EC190F-D207-4CC7-9ACC-23D0B5BADE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9445" y="3859917"/>
            <a:ext cx="4506464" cy="2867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Jose Luis\Desktop\Teledermato\teledermatologia\Arze Cyr Luis Elias - CBC (2).JPG">
            <a:extLst>
              <a:ext uri="{FF2B5EF4-FFF2-40B4-BE49-F238E27FC236}">
                <a16:creationId xmlns:a16="http://schemas.microsoft.com/office/drawing/2014/main" id="{DC40F029-AA05-4573-87BE-3A558FBBCD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9419" y="3866694"/>
            <a:ext cx="4006271" cy="2867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ángulo redondeado 13">
            <a:extLst>
              <a:ext uri="{FF2B5EF4-FFF2-40B4-BE49-F238E27FC236}">
                <a16:creationId xmlns:a16="http://schemas.microsoft.com/office/drawing/2014/main" id="{4650F83F-AEB6-4897-B6AF-085669679225}"/>
              </a:ext>
            </a:extLst>
          </p:cNvPr>
          <p:cNvSpPr/>
          <p:nvPr/>
        </p:nvSpPr>
        <p:spPr>
          <a:xfrm>
            <a:off x="411177" y="5363731"/>
            <a:ext cx="1935446" cy="760569"/>
          </a:xfrm>
          <a:prstGeom prst="roundRect">
            <a:avLst/>
          </a:pr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12700" cap="flat" cmpd="sng" algn="ctr">
            <a:solidFill>
              <a:srgbClr val="4472C4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se up de la lesión</a:t>
            </a:r>
          </a:p>
        </p:txBody>
      </p:sp>
      <p:sp>
        <p:nvSpPr>
          <p:cNvPr id="10" name="Rectángulo redondeado 11">
            <a:extLst>
              <a:ext uri="{FF2B5EF4-FFF2-40B4-BE49-F238E27FC236}">
                <a16:creationId xmlns:a16="http://schemas.microsoft.com/office/drawing/2014/main" id="{7DBD40D5-C1CD-4210-8088-5E82411573A3}"/>
              </a:ext>
            </a:extLst>
          </p:cNvPr>
          <p:cNvSpPr/>
          <p:nvPr/>
        </p:nvSpPr>
        <p:spPr>
          <a:xfrm>
            <a:off x="8898298" y="3135574"/>
            <a:ext cx="1752310" cy="638227"/>
          </a:xfrm>
          <a:prstGeom prst="roundRect">
            <a:avLst/>
          </a:pr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12700" cap="flat" cmpd="sng" algn="ctr">
            <a:solidFill>
              <a:srgbClr val="4472C4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F</a:t>
            </a:r>
            <a:r>
              <a:rPr kumimoji="0" lang="es-CL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ografía</a:t>
            </a:r>
            <a:r>
              <a:rPr kumimoji="0" lang="es-CL" sz="1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rmatoscópica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619B0EE-D7BF-48A9-86CB-055B968B9486}"/>
              </a:ext>
            </a:extLst>
          </p:cNvPr>
          <p:cNvSpPr txBox="1"/>
          <p:nvPr/>
        </p:nvSpPr>
        <p:spPr>
          <a:xfrm>
            <a:off x="7478731" y="540991"/>
            <a:ext cx="4591445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b="1" dirty="0"/>
              <a:t> </a:t>
            </a:r>
            <a:r>
              <a:rPr lang="es-MX" b="1" dirty="0">
                <a:solidFill>
                  <a:srgbClr val="587682"/>
                </a:solidFill>
                <a:latin typeface="Corbel" panose="020B0503020204020204" pitchFamily="34" charset="0"/>
              </a:rPr>
              <a:t>Uso de </a:t>
            </a:r>
            <a:r>
              <a:rPr lang="es-MX" b="1" dirty="0" err="1">
                <a:solidFill>
                  <a:srgbClr val="587682"/>
                </a:solidFill>
                <a:latin typeface="Corbel" panose="020B0503020204020204" pitchFamily="34" charset="0"/>
              </a:rPr>
              <a:t>dermatoscopio</a:t>
            </a:r>
            <a:r>
              <a:rPr lang="es-MX" b="1" dirty="0">
                <a:solidFill>
                  <a:srgbClr val="587682"/>
                </a:solidFill>
                <a:latin typeface="Corbel" panose="020B0503020204020204" pitchFamily="34" charset="0"/>
              </a:rPr>
              <a:t> para mejorar el diagnóstico de Dermatología</a:t>
            </a:r>
          </a:p>
          <a:p>
            <a:r>
              <a:rPr lang="es-MX" dirty="0">
                <a:solidFill>
                  <a:srgbClr val="0563C1"/>
                </a:solidFill>
                <a:latin typeface="Corbel" panose="020B0503020204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youtube.com/watch?v=</a:t>
            </a:r>
            <a:r>
              <a:rPr lang="es-MX" dirty="0">
                <a:solidFill>
                  <a:srgbClr val="587682"/>
                </a:solidFill>
                <a:latin typeface="Corbel" panose="020B0503020204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I-w3tyk6SY</a:t>
            </a:r>
            <a:endParaRPr lang="es-MX" dirty="0">
              <a:solidFill>
                <a:srgbClr val="587682"/>
              </a:solidFill>
              <a:latin typeface="Corbel" panose="020B0503020204020204" pitchFamily="34" charset="0"/>
            </a:endParaRPr>
          </a:p>
          <a:p>
            <a:endParaRPr lang="es-MX" dirty="0">
              <a:solidFill>
                <a:srgbClr val="587682"/>
              </a:solidFill>
              <a:latin typeface="Corbel" panose="020B0503020204020204" pitchFamily="34" charset="0"/>
            </a:endParaRPr>
          </a:p>
          <a:p>
            <a:r>
              <a:rPr lang="es-MX" b="1" dirty="0" err="1">
                <a:solidFill>
                  <a:srgbClr val="587682"/>
                </a:solidFill>
                <a:latin typeface="Corbel" panose="020B0503020204020204" pitchFamily="34" charset="0"/>
              </a:rPr>
              <a:t>Dermatoscopía</a:t>
            </a:r>
            <a:r>
              <a:rPr lang="es-MX" b="1" dirty="0">
                <a:solidFill>
                  <a:srgbClr val="587682"/>
                </a:solidFill>
                <a:latin typeface="Corbel" panose="020B0503020204020204" pitchFamily="34" charset="0"/>
              </a:rPr>
              <a:t> Básica en APS</a:t>
            </a:r>
          </a:p>
          <a:p>
            <a:r>
              <a:rPr lang="es-MX" dirty="0">
                <a:solidFill>
                  <a:srgbClr val="0563C1"/>
                </a:solidFill>
                <a:latin typeface="Corbel" panose="020B0503020204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youtube.com/watch?v=</a:t>
            </a:r>
            <a:r>
              <a:rPr lang="es-MX" dirty="0">
                <a:solidFill>
                  <a:srgbClr val="587682"/>
                </a:solidFill>
                <a:latin typeface="Corbel" panose="020B0503020204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5isGyu04ooE</a:t>
            </a:r>
            <a:endParaRPr lang="es-MX" dirty="0">
              <a:solidFill>
                <a:srgbClr val="587682"/>
              </a:solidFill>
              <a:latin typeface="Corbel" panose="020B0503020204020204" pitchFamily="34" charset="0"/>
            </a:endParaRPr>
          </a:p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76300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BF6766D3-79FA-2407-40A4-FA5023691BD8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Canasta de Fármacos Célula Dermatología Programa de </a:t>
            </a:r>
            <a:r>
              <a:rPr lang="es-CL" sz="2400" b="1" dirty="0" err="1">
                <a:solidFill>
                  <a:srgbClr val="587682"/>
                </a:solidFill>
                <a:latin typeface="Corbel" panose="020B0503020204020204" pitchFamily="34" charset="0"/>
              </a:rPr>
              <a:t>Resolutividad</a:t>
            </a: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 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5787AAE9-53C9-C36D-2736-4C22E6936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0386" y="773103"/>
            <a:ext cx="4608722" cy="5715831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E86332EE-2065-CBFC-E033-FE00412B586A}"/>
              </a:ext>
            </a:extLst>
          </p:cNvPr>
          <p:cNvSpPr txBox="1"/>
          <p:nvPr/>
        </p:nvSpPr>
        <p:spPr>
          <a:xfrm>
            <a:off x="5949108" y="1454226"/>
            <a:ext cx="4902506" cy="934962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r>
              <a:rPr lang="es-CL" sz="1600" dirty="0">
                <a:solidFill>
                  <a:srgbClr val="61828F"/>
                </a:solidFill>
                <a:latin typeface="Corbel" panose="020B0503020204020204" pitchFamily="34" charset="0"/>
                <a:cs typeface="Candara"/>
              </a:rPr>
              <a:t>Estos fármacos deben ser indicados por el especialista de Hospital Digital y solicitados a Farmacia del Servicio de Salud Tarapacá. </a:t>
            </a:r>
          </a:p>
        </p:txBody>
      </p:sp>
      <p:pic>
        <p:nvPicPr>
          <p:cNvPr id="6" name="Graphic 2" descr="Graphic 2">
            <a:extLst>
              <a:ext uri="{FF2B5EF4-FFF2-40B4-BE49-F238E27FC236}">
                <a16:creationId xmlns:a16="http://schemas.microsoft.com/office/drawing/2014/main" id="{A538705E-AEED-348F-A36B-340FDC7B6E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6124" y="2984363"/>
            <a:ext cx="1138497" cy="8892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9004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BF6766D3-79FA-2407-40A4-FA5023691BD8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Célula de Endocrinología </a:t>
            </a:r>
          </a:p>
        </p:txBody>
      </p:sp>
      <p:graphicFrame>
        <p:nvGraphicFramePr>
          <p:cNvPr id="5" name="Diagrama 4"/>
          <p:cNvGraphicFramePr/>
          <p:nvPr/>
        </p:nvGraphicFramePr>
        <p:xfrm>
          <a:off x="287865" y="345062"/>
          <a:ext cx="11057467" cy="3733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a 5"/>
          <p:cNvGraphicFramePr/>
          <p:nvPr/>
        </p:nvGraphicFramePr>
        <p:xfrm>
          <a:off x="3894668" y="4267200"/>
          <a:ext cx="7162800" cy="1346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CuadroTexto 6"/>
          <p:cNvSpPr txBox="1"/>
          <p:nvPr/>
        </p:nvSpPr>
        <p:spPr>
          <a:xfrm>
            <a:off x="1134533" y="4639733"/>
            <a:ext cx="2201333" cy="411742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r>
              <a:rPr lang="es-MX" sz="1400" b="1" dirty="0">
                <a:latin typeface="Candara"/>
                <a:cs typeface="Candara"/>
              </a:rPr>
              <a:t>Criterios de Exclusión </a:t>
            </a:r>
            <a:endParaRPr lang="es-CL" sz="1400" b="1" dirty="0" err="1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597231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BF6766D3-79FA-2407-40A4-FA5023691BD8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Célula de Reumatología  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46EE8F0-048E-6E7E-4BF7-6353D5882F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" r="64172" b="-2064"/>
          <a:stretch/>
        </p:blipFill>
        <p:spPr>
          <a:xfrm>
            <a:off x="598738" y="886988"/>
            <a:ext cx="1692647" cy="1617469"/>
          </a:xfrm>
          <a:prstGeom prst="rect">
            <a:avLst/>
          </a:prstGeom>
        </p:spPr>
      </p:pic>
      <p:graphicFrame>
        <p:nvGraphicFramePr>
          <p:cNvPr id="8" name="Diagrama 7"/>
          <p:cNvGraphicFramePr/>
          <p:nvPr/>
        </p:nvGraphicFramePr>
        <p:xfrm>
          <a:off x="2396810" y="1134533"/>
          <a:ext cx="7687732" cy="41877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17054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4E9A6-7D68-0531-00B6-4AC32809E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B07C0637-1836-7132-AAEC-AAE4A5AD6263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anchor="ctr"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/>
              <a:buNone/>
            </a:pPr>
            <a:r>
              <a:rPr lang="es-MX" sz="2400" b="1">
                <a:solidFill>
                  <a:srgbClr val="587682"/>
                </a:solidFill>
                <a:latin typeface="Corbel" panose="020B0503020204020204" pitchFamily="34" charset="0"/>
              </a:rPr>
              <a:t>Aspectos particulares de la estrategia</a:t>
            </a:r>
            <a:endParaRPr lang="es-CL" sz="2400" b="1" dirty="0">
              <a:solidFill>
                <a:srgbClr val="587682"/>
              </a:solidFill>
              <a:latin typeface="Corbel" panose="020B0503020204020204" pitchFamily="34" charset="0"/>
            </a:endParaRPr>
          </a:p>
        </p:txBody>
      </p:sp>
      <p:sp>
        <p:nvSpPr>
          <p:cNvPr id="3" name="Rectángulo redondeado 4">
            <a:extLst>
              <a:ext uri="{FF2B5EF4-FFF2-40B4-BE49-F238E27FC236}">
                <a16:creationId xmlns:a16="http://schemas.microsoft.com/office/drawing/2014/main" id="{EEBDFEE2-2470-F485-7F76-AC9085BDBD94}"/>
              </a:ext>
            </a:extLst>
          </p:cNvPr>
          <p:cNvSpPr/>
          <p:nvPr/>
        </p:nvSpPr>
        <p:spPr>
          <a:xfrm>
            <a:off x="535437" y="923453"/>
            <a:ext cx="11245745" cy="5225556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El </a:t>
            </a:r>
            <a:r>
              <a:rPr lang="es-ES" b="1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acceso a la atención </a:t>
            </a:r>
            <a:r>
              <a:rPr lang="es-ES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es a partir de la APS (consulta de morbilidad)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El </a:t>
            </a:r>
            <a:r>
              <a:rPr lang="es-ES" b="1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público objetivo </a:t>
            </a:r>
            <a:r>
              <a:rPr lang="es-ES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de la estrategia corresponde a pacientes que ya cuentan con el diagnóstico previo de una Artropatía inflamatoria, a diferencia de las otras células, no se reciben “pacientes nuevos-sospecha”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Previo al envío de la SIC, el médico de APS debe garantizar la existencia de </a:t>
            </a:r>
            <a:r>
              <a:rPr lang="es-ES" b="1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resultados de exámenes de sangre </a:t>
            </a:r>
            <a:r>
              <a:rPr lang="es-ES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(pueden tener hasta 6 meses de antigüedad): Hemograma + VHS, perfil hepático, creatinina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Previo al envío de la SIC, el médico de APS debe tener (al menos uno de ellos): Imagen de la placa de una radiografía de mano simple, informe de la </a:t>
            </a:r>
            <a:r>
              <a:rPr lang="es-ES" dirty="0" err="1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Rx</a:t>
            </a:r>
            <a:r>
              <a:rPr lang="es-ES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 de mano o una imagen de la mano afectada. La antigüedad de la </a:t>
            </a:r>
            <a:r>
              <a:rPr lang="es-ES" dirty="0" err="1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Rx</a:t>
            </a:r>
            <a:r>
              <a:rPr lang="es-ES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, debe ser como máximo 1 año.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BA406D3-A429-9C46-A77A-D159F2432C5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130" t="25835" r="73213" b="18490"/>
          <a:stretch/>
        </p:blipFill>
        <p:spPr>
          <a:xfrm>
            <a:off x="11117179" y="75780"/>
            <a:ext cx="834189" cy="882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368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06EFA761-83A9-454C-866F-A0B312653701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anchor="ctr"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/>
              <a:buNone/>
            </a:pP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Salud Digital 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1069954" y="1073347"/>
            <a:ext cx="9723376" cy="2042958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algn="ctr"/>
            <a:r>
              <a:rPr lang="es-MX" sz="2400" b="0" i="0" u="none" strike="noStrike" baseline="0" dirty="0">
                <a:solidFill>
                  <a:srgbClr val="587682"/>
                </a:solidFill>
                <a:latin typeface="Corbel" panose="020B0503020204020204" pitchFamily="34" charset="0"/>
              </a:rPr>
              <a:t>Salud Digital como estrategia </a:t>
            </a:r>
            <a:r>
              <a:rPr lang="es-MX" sz="2400" b="1" i="0" u="none" strike="noStrike" baseline="0" dirty="0">
                <a:solidFill>
                  <a:srgbClr val="FF741F"/>
                </a:solidFill>
                <a:latin typeface="Corbel" panose="020B0503020204020204" pitchFamily="34" charset="0"/>
              </a:rPr>
              <a:t>centrada en las personas </a:t>
            </a:r>
            <a:r>
              <a:rPr lang="es-MX" sz="2400" b="0" i="0" u="none" strike="noStrike" baseline="0" dirty="0">
                <a:solidFill>
                  <a:srgbClr val="587682"/>
                </a:solidFill>
                <a:latin typeface="Corbel" panose="020B0503020204020204" pitchFamily="34" charset="0"/>
              </a:rPr>
              <a:t>y que permite, con sustento en las tecnologías de información y comunicaciones, </a:t>
            </a:r>
            <a:r>
              <a:rPr lang="es-MX" sz="2400" b="1" i="0" u="none" strike="noStrike" baseline="0" dirty="0">
                <a:solidFill>
                  <a:srgbClr val="FF741F"/>
                </a:solidFill>
                <a:latin typeface="Corbel" panose="020B0503020204020204" pitchFamily="34" charset="0"/>
              </a:rPr>
              <a:t>apoyar al sistema sanitario </a:t>
            </a:r>
            <a:r>
              <a:rPr lang="es-MX" sz="2400" b="0" i="0" u="none" strike="noStrike" baseline="0" dirty="0">
                <a:solidFill>
                  <a:srgbClr val="587682"/>
                </a:solidFill>
                <a:latin typeface="Corbel" panose="020B0503020204020204" pitchFamily="34" charset="0"/>
              </a:rPr>
              <a:t>tanto en sus procesos asistenciales como en la promoción y prevención, así como también en la generación y uso de información para la gestión y la elaboración de políticas públicas</a:t>
            </a:r>
            <a:r>
              <a:rPr lang="es-MX" sz="2400" b="1" i="0" u="none" strike="noStrike" baseline="0" dirty="0">
                <a:solidFill>
                  <a:srgbClr val="587682"/>
                </a:solidFill>
                <a:latin typeface="Corbel" panose="020B0503020204020204" pitchFamily="34" charset="0"/>
              </a:rPr>
              <a:t>.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4B8DD6F-251D-26F0-15DE-E0075593D492}"/>
              </a:ext>
            </a:extLst>
          </p:cNvPr>
          <p:cNvSpPr txBox="1"/>
          <p:nvPr/>
        </p:nvSpPr>
        <p:spPr>
          <a:xfrm>
            <a:off x="1069954" y="3117581"/>
            <a:ext cx="5774228" cy="2412290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587682"/>
                </a:solidFill>
                <a:effectLst/>
                <a:uLnTx/>
                <a:uFillTx/>
                <a:latin typeface="Corbel" panose="020B0503020204020204" pitchFamily="34" charset="0"/>
              </a:rPr>
              <a:t>Objetivo: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587682"/>
              </a:solidFill>
              <a:effectLst/>
              <a:uLnTx/>
              <a:uFillTx/>
              <a:latin typeface="Corbel" panose="020B0503020204020204" pitchFamily="34" charset="0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srgbClr val="587682"/>
                </a:solidFill>
                <a:effectLst/>
                <a:uLnTx/>
                <a:uFillTx/>
                <a:latin typeface="Corbel" panose="020B0503020204020204" pitchFamily="34" charset="0"/>
              </a:rPr>
              <a:t>Mejorar el 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FF741F"/>
                </a:solidFill>
                <a:effectLst/>
                <a:uLnTx/>
                <a:uFillTx/>
                <a:latin typeface="Corbel" panose="020B0503020204020204" pitchFamily="34" charset="0"/>
              </a:rPr>
              <a:t>acceso, la oportunidad y la calidad de la atención, 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srgbClr val="587682"/>
                </a:solidFill>
                <a:effectLst/>
                <a:uLnTx/>
                <a:uFillTx/>
                <a:latin typeface="Corbel" panose="020B0503020204020204" pitchFamily="34" charset="0"/>
              </a:rPr>
              <a:t>aportando eficiencia al sistema y satisfacción a los usuarios.</a:t>
            </a:r>
            <a:endParaRPr kumimoji="0" lang="es-CL" sz="2400" b="0" i="0" u="none" strike="noStrike" kern="1200" cap="none" spc="0" normalizeH="0" baseline="0" noProof="0" dirty="0">
              <a:ln>
                <a:noFill/>
              </a:ln>
              <a:solidFill>
                <a:srgbClr val="587682"/>
              </a:solidFill>
              <a:effectLst/>
              <a:uLnTx/>
              <a:uFillTx/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815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5249D6-A3B1-FD1A-9AF4-F7F1B08175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364FD88A-5328-D744-50D6-5363EBB35C37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anchor="ctr"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/>
              <a:buNone/>
            </a:pPr>
            <a:r>
              <a:rPr lang="es-MX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Aspectos particulares de la estrategia</a:t>
            </a:r>
            <a:endParaRPr lang="es-CL" sz="2400" b="1" dirty="0">
              <a:solidFill>
                <a:srgbClr val="587682"/>
              </a:solidFill>
              <a:latin typeface="Corbel" panose="020B0503020204020204" pitchFamily="34" charset="0"/>
            </a:endParaRPr>
          </a:p>
        </p:txBody>
      </p:sp>
      <p:sp>
        <p:nvSpPr>
          <p:cNvPr id="3" name="Rectángulo redondeado 4">
            <a:extLst>
              <a:ext uri="{FF2B5EF4-FFF2-40B4-BE49-F238E27FC236}">
                <a16:creationId xmlns:a16="http://schemas.microsoft.com/office/drawing/2014/main" id="{1376157A-91E9-8FAE-D19E-C73DC8CF12FD}"/>
              </a:ext>
            </a:extLst>
          </p:cNvPr>
          <p:cNvSpPr/>
          <p:nvPr/>
        </p:nvSpPr>
        <p:spPr>
          <a:xfrm>
            <a:off x="535437" y="923453"/>
            <a:ext cx="11245745" cy="321122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Si la especialista indica tratamiento de nivel de especialidad, emite una receta electrónica en Sistema Nacional de Receta Electrónica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Adjunta receta a su respuesta a la TeleIC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El médico de APS informa a botiquín de APS, quien coordina con farmacia de nivel secundario para que se entregue el medicamento directamente en el CESFAM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00000"/>
                </a:solidFill>
                <a:latin typeface="Corbel" panose="020B0503020204020204" pitchFamily="34" charset="0"/>
                <a:ea typeface="Calibri" panose="020F0502020204030204" pitchFamily="34" charset="0"/>
              </a:rPr>
              <a:t>*El SS Coquimbo: cuenta con droguería en el SS quienes articulan toda esta gestión.</a:t>
            </a:r>
          </a:p>
        </p:txBody>
      </p:sp>
    </p:spTree>
    <p:extLst>
      <p:ext uri="{BB962C8B-B14F-4D97-AF65-F5344CB8AC3E}">
        <p14:creationId xmlns:p14="http://schemas.microsoft.com/office/powerpoint/2010/main" val="2376789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6631FBFF-0490-BB93-835D-981E038C5DFD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Compromisos de Gestión N° 1 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8647E82-128E-06CD-B701-B81D4416629C}"/>
              </a:ext>
            </a:extLst>
          </p:cNvPr>
          <p:cNvSpPr txBox="1"/>
          <p:nvPr/>
        </p:nvSpPr>
        <p:spPr>
          <a:xfrm>
            <a:off x="985630" y="1054835"/>
            <a:ext cx="10510091" cy="1581293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lvl="0" defTabSz="914400">
              <a:defRPr/>
            </a:pPr>
            <a:r>
              <a:rPr lang="es-MX" dirty="0"/>
              <a:t>1.12 Cierres de casos de </a:t>
            </a:r>
            <a:r>
              <a:rPr lang="es-MX" dirty="0" err="1"/>
              <a:t>Teleinterconsultas</a:t>
            </a:r>
            <a:r>
              <a:rPr lang="es-MX" dirty="0"/>
              <a:t> de Hospital Digital resueltas por las Células de especialidades definidas, en un plazo máximo de 30 días desde su respuesta. </a:t>
            </a:r>
          </a:p>
          <a:p>
            <a:pPr lvl="0" defTabSz="914400">
              <a:defRPr/>
            </a:pPr>
            <a:endParaRPr lang="es-MX" dirty="0">
              <a:solidFill>
                <a:srgbClr val="61828F"/>
              </a:solidFill>
            </a:endParaRPr>
          </a:p>
          <a:p>
            <a:pPr lvl="0" defTabSz="914400">
              <a:defRPr/>
            </a:pPr>
            <a:r>
              <a:rPr lang="es-MX" dirty="0"/>
              <a:t>1.13 Establecimientos del Servicio de Salud con 2 o más estrategias y/o Células de Hospital Digital implementadas.</a:t>
            </a:r>
            <a:endParaRPr lang="es-MX" dirty="0">
              <a:solidFill>
                <a:srgbClr val="61828F"/>
              </a:solidFill>
            </a:endParaRPr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id="{9FF6A161-4EA7-4CD9-DFB6-D4BC30D9E2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5331304"/>
              </p:ext>
            </p:extLst>
          </p:nvPr>
        </p:nvGraphicFramePr>
        <p:xfrm>
          <a:off x="1653490" y="3208663"/>
          <a:ext cx="9174370" cy="27093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9768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6631FBFF-0490-BB93-835D-981E038C5DFD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Propuesta de Trabajo </a:t>
            </a: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761305007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84239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6631FBFF-0490-BB93-835D-981E038C5DFD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Marco normativo vigente en Chile </a:t>
            </a: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123857439"/>
              </p:ext>
            </p:extLst>
          </p:nvPr>
        </p:nvGraphicFramePr>
        <p:xfrm>
          <a:off x="1422400" y="99109"/>
          <a:ext cx="94488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75024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FC00D6BE-7A3C-5EAC-2B0C-D59ED8110B35}"/>
              </a:ext>
            </a:extLst>
          </p:cNvPr>
          <p:cNvSpPr txBox="1"/>
          <p:nvPr/>
        </p:nvSpPr>
        <p:spPr>
          <a:xfrm>
            <a:off x="-156516" y="92480"/>
            <a:ext cx="7296724" cy="627186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800" b="1" kern="1200" dirty="0">
                <a:solidFill>
                  <a:srgbClr val="587682"/>
                </a:solidFill>
                <a:latin typeface="Corbel" panose="020B0503020204020204" pitchFamily="34" charset="0"/>
                <a:ea typeface="+mn-ea"/>
                <a:cs typeface="Candara"/>
              </a:rPr>
              <a:t>LINKS DE INTERES </a:t>
            </a:r>
            <a:endParaRPr kumimoji="0" lang="es-ES" sz="2800" b="1" i="0" u="none" strike="noStrike" kern="1200" cap="none" spc="0" normalizeH="0" baseline="0" noProof="0" dirty="0">
              <a:ln>
                <a:noFill/>
              </a:ln>
              <a:solidFill>
                <a:srgbClr val="587682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Candara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A2A09E5-633D-859C-0E26-B3DB532FC3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113" y="3815255"/>
            <a:ext cx="4782290" cy="2571257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F90BC97A-2F4E-DCCA-07F0-3ABC483CA4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6517" y="719666"/>
            <a:ext cx="5429250" cy="289560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B654A0EE-04F0-D373-BE1A-5A951848E0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9599" y="1674728"/>
            <a:ext cx="5320507" cy="289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683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ráfico 28">
            <a:extLst>
              <a:ext uri="{FF2B5EF4-FFF2-40B4-BE49-F238E27FC236}">
                <a16:creationId xmlns:a16="http://schemas.microsoft.com/office/drawing/2014/main" id="{FDE8AD7D-B006-435B-BB7B-9981D08BED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3015136" y="-2349331"/>
            <a:ext cx="6161728" cy="11501576"/>
          </a:xfrm>
          <a:prstGeom prst="rect">
            <a:avLst/>
          </a:prstGeom>
        </p:spPr>
      </p:pic>
      <p:pic>
        <p:nvPicPr>
          <p:cNvPr id="78" name="Gráfico 77">
            <a:extLst>
              <a:ext uri="{FF2B5EF4-FFF2-40B4-BE49-F238E27FC236}">
                <a16:creationId xmlns:a16="http://schemas.microsoft.com/office/drawing/2014/main" id="{3E0F66C3-4D43-4990-BE0C-944ADC0ECBF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7453" t="16159" r="25432" b="5536"/>
          <a:stretch/>
        </p:blipFill>
        <p:spPr>
          <a:xfrm rot="5400000">
            <a:off x="3015136" y="-2349333"/>
            <a:ext cx="6161726" cy="11501577"/>
          </a:xfrm>
          <a:prstGeom prst="rect">
            <a:avLst/>
          </a:prstGeom>
        </p:spPr>
      </p:pic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47E74D0-B6D6-469F-9B7F-7A79E561E9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395" imgH="396" progId="TCLayout.ActiveDocument.1">
                  <p:embed/>
                </p:oleObj>
              </mc:Choice>
              <mc:Fallback>
                <p:oleObj name="Diapositiva de think-cell" r:id="rId8" imgW="395" imgH="39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47E74D0-B6D6-469F-9B7F-7A79E561E9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65153AB-0545-4307-B317-F6E6600012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ct val="0"/>
              </a:spcBef>
              <a:spcAft>
                <a:spcPct val="0"/>
              </a:spcAft>
            </a:pPr>
            <a:endParaRPr lang="es-CL" sz="6000" b="1" dirty="0">
              <a:solidFill>
                <a:prstClr val="white"/>
              </a:solidFill>
              <a:latin typeface="Candara" panose="020E0502030303020204" pitchFamily="34" charset="0"/>
              <a:ea typeface="+mj-ea"/>
              <a:cs typeface="+mj-cs"/>
              <a:sym typeface="Candara" panose="020E050203030302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B868954-A234-4248-B7FF-5C3A067C9669}"/>
              </a:ext>
            </a:extLst>
          </p:cNvPr>
          <p:cNvSpPr txBox="1"/>
          <p:nvPr/>
        </p:nvSpPr>
        <p:spPr>
          <a:xfrm>
            <a:off x="3669558" y="2732068"/>
            <a:ext cx="5061228" cy="934962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pPr algn="ctr"/>
            <a:r>
              <a:rPr lang="es-CL" sz="4800" b="1" spc="-150" dirty="0">
                <a:solidFill>
                  <a:schemeClr val="bg1"/>
                </a:solidFill>
                <a:latin typeface="Corbel" panose="020B0503020204020204" pitchFamily="34" charset="0"/>
                <a:ea typeface="Roboto" panose="02000000000000000000" pitchFamily="2" charset="0"/>
                <a:cs typeface="Candara"/>
              </a:rPr>
              <a:t>GRACIAS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9558" y="3965397"/>
            <a:ext cx="1130678" cy="1130678"/>
          </a:xfrm>
          <a:prstGeom prst="rect">
            <a:avLst/>
          </a:prstGeom>
        </p:spPr>
      </p:pic>
      <p:pic>
        <p:nvPicPr>
          <p:cNvPr id="31" name="Gráfico 30">
            <a:extLst>
              <a:ext uri="{FF2B5EF4-FFF2-40B4-BE49-F238E27FC236}">
                <a16:creationId xmlns:a16="http://schemas.microsoft.com/office/drawing/2014/main" id="{1A1EA7C3-0FF5-4745-8061-000D2BFDF20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194876" y="329184"/>
            <a:ext cx="3867042" cy="4425723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03320DF-8122-4267-A85D-E14866086E2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645395" y="4087903"/>
            <a:ext cx="2930388" cy="96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24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ntent Placeholder 4"/>
          <p:cNvSpPr>
            <a:spLocks noGrp="1"/>
          </p:cNvSpPr>
          <p:nvPr>
            <p:ph sz="quarter" idx="4294967295"/>
          </p:nvPr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anchor="ctr"/>
          <a:lstStyle/>
          <a:p>
            <a:pPr marL="0" indent="0" defTabSz="457200">
              <a:spcBef>
                <a:spcPts val="0"/>
              </a:spcBef>
              <a:buNone/>
            </a:pP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Hospital Digital 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4B21B7F-6290-4B39-B5C8-448837CC3059}"/>
              </a:ext>
            </a:extLst>
          </p:cNvPr>
          <p:cNvSpPr txBox="1"/>
          <p:nvPr/>
        </p:nvSpPr>
        <p:spPr>
          <a:xfrm>
            <a:off x="5068285" y="971652"/>
            <a:ext cx="6593627" cy="5120723"/>
          </a:xfrm>
          <a:prstGeom prst="rect">
            <a:avLst/>
          </a:prstGeom>
          <a:noFill/>
        </p:spPr>
        <p:txBody>
          <a:bodyPr wrap="square" lIns="180000" tIns="97200" rIns="180000" bIns="97200" rtlCol="0" anchor="t" anchorCtr="0">
            <a:spAutoFit/>
          </a:bodyPr>
          <a:lstStyle/>
          <a:p>
            <a:r>
              <a:rPr lang="es-CL" sz="2000" b="1" i="0" dirty="0">
                <a:solidFill>
                  <a:srgbClr val="587682"/>
                </a:solidFill>
                <a:effectLst/>
                <a:latin typeface="Corbel" panose="020B0503020204020204" pitchFamily="34" charset="0"/>
              </a:rPr>
              <a:t>¿Que es ?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sz="2000" dirty="0">
                <a:solidFill>
                  <a:srgbClr val="587682"/>
                </a:solidFill>
                <a:latin typeface="Corbel" panose="020B0503020204020204" pitchFamily="34" charset="0"/>
                <a:cs typeface="Candara"/>
              </a:rPr>
              <a:t>Estrategia de </a:t>
            </a:r>
            <a:r>
              <a:rPr lang="es-CL" sz="2000" b="1" dirty="0">
                <a:solidFill>
                  <a:srgbClr val="FF741F"/>
                </a:solidFill>
                <a:latin typeface="Corbel" panose="020B0503020204020204" pitchFamily="34" charset="0"/>
                <a:cs typeface="Candara"/>
              </a:rPr>
              <a:t>Salud Digital </a:t>
            </a:r>
            <a:r>
              <a:rPr lang="es-CL" sz="2000" dirty="0">
                <a:solidFill>
                  <a:srgbClr val="587682"/>
                </a:solidFill>
                <a:latin typeface="Corbel" panose="020B0503020204020204" pitchFamily="34" charset="0"/>
                <a:cs typeface="Candara"/>
              </a:rPr>
              <a:t>del Ministerio de Salud desde 2018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sz="2000" dirty="0">
                <a:solidFill>
                  <a:srgbClr val="587682"/>
                </a:solidFill>
                <a:latin typeface="Corbel" panose="020B0503020204020204" pitchFamily="34" charset="0"/>
                <a:cs typeface="Candara"/>
              </a:rPr>
              <a:t>Conjunto </a:t>
            </a:r>
            <a:r>
              <a:rPr lang="es-CL" sz="2000" dirty="0">
                <a:solidFill>
                  <a:srgbClr val="FF741F"/>
                </a:solidFill>
                <a:latin typeface="Corbel" panose="020B0503020204020204" pitchFamily="34" charset="0"/>
                <a:cs typeface="Candara"/>
              </a:rPr>
              <a:t>de </a:t>
            </a:r>
            <a:r>
              <a:rPr lang="es-CL" sz="2000" b="1" dirty="0">
                <a:solidFill>
                  <a:srgbClr val="FF741F"/>
                </a:solidFill>
                <a:latin typeface="Corbel" panose="020B0503020204020204" pitchFamily="34" charset="0"/>
                <a:cs typeface="Candara"/>
              </a:rPr>
              <a:t>prestaciones de Telemedicina </a:t>
            </a:r>
            <a:r>
              <a:rPr lang="es-CL" sz="2000" dirty="0">
                <a:solidFill>
                  <a:srgbClr val="587682"/>
                </a:solidFill>
                <a:latin typeface="Corbel" panose="020B0503020204020204" pitchFamily="34" charset="0"/>
                <a:cs typeface="Candara"/>
              </a:rPr>
              <a:t>centradas en el paciente y de manera integrada a la Red Asistencial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sz="2000" dirty="0">
                <a:solidFill>
                  <a:srgbClr val="587682"/>
                </a:solidFill>
                <a:latin typeface="Corbel" panose="020B0503020204020204" pitchFamily="34" charset="0"/>
                <a:cs typeface="Candara"/>
              </a:rPr>
              <a:t>Permite </a:t>
            </a:r>
            <a:r>
              <a:rPr lang="es-CL" sz="2000" b="1" dirty="0">
                <a:solidFill>
                  <a:srgbClr val="FF741F"/>
                </a:solidFill>
                <a:latin typeface="Corbel" panose="020B0503020204020204" pitchFamily="34" charset="0"/>
                <a:cs typeface="Candara"/>
              </a:rPr>
              <a:t>optimizar recursos físicos y humanos</a:t>
            </a:r>
            <a:r>
              <a:rPr lang="es-CL" sz="2000" dirty="0">
                <a:solidFill>
                  <a:srgbClr val="FF741F"/>
                </a:solidFill>
                <a:latin typeface="Corbel" panose="020B0503020204020204" pitchFamily="34" charset="0"/>
                <a:cs typeface="Candara"/>
              </a:rPr>
              <a:t> </a:t>
            </a:r>
            <a:r>
              <a:rPr lang="es-CL" sz="2000" dirty="0">
                <a:solidFill>
                  <a:srgbClr val="587682"/>
                </a:solidFill>
                <a:latin typeface="Corbel" panose="020B0503020204020204" pitchFamily="34" charset="0"/>
                <a:cs typeface="Candara"/>
              </a:rPr>
              <a:t>para realizar atenciones sin limitaciones geográficas ni horarias. </a:t>
            </a:r>
          </a:p>
          <a:p>
            <a:endParaRPr lang="es-CL" sz="2000" dirty="0">
              <a:solidFill>
                <a:srgbClr val="587682"/>
              </a:solidFill>
              <a:latin typeface="Corbel" panose="020B0503020204020204" pitchFamily="34" charset="0"/>
              <a:cs typeface="Candara"/>
            </a:endParaRPr>
          </a:p>
          <a:p>
            <a:r>
              <a:rPr lang="es-CL" sz="2000" b="1" dirty="0">
                <a:solidFill>
                  <a:srgbClr val="587682"/>
                </a:solidFill>
                <a:latin typeface="Corbel" panose="020B0503020204020204" pitchFamily="34" charset="0"/>
                <a:cs typeface="Candara"/>
              </a:rPr>
              <a:t>Objetivo </a:t>
            </a:r>
          </a:p>
          <a:p>
            <a:endParaRPr lang="es-CL" sz="2000" b="1" dirty="0">
              <a:solidFill>
                <a:srgbClr val="587682"/>
              </a:solidFill>
              <a:latin typeface="Corbel" panose="020B0503020204020204" pitchFamily="34" charset="0"/>
              <a:cs typeface="Candara"/>
            </a:endParaRPr>
          </a:p>
          <a:p>
            <a:pPr algn="just"/>
            <a:r>
              <a:rPr lang="es-CL" sz="2000" dirty="0">
                <a:solidFill>
                  <a:srgbClr val="587682"/>
                </a:solidFill>
                <a:latin typeface="Corbel" panose="020B0503020204020204" pitchFamily="34" charset="0"/>
                <a:cs typeface="Candara"/>
              </a:rPr>
              <a:t>Brindar atención oportuna a personas que se encuentran en lista de espera, que tienen dificultades de acceso o que residen en zonas alejadas, evitando así gastos innecesarios de traslado y apoyando la Resolutividad de APS </a:t>
            </a:r>
            <a:endParaRPr lang="es-ES" sz="2000" dirty="0">
              <a:solidFill>
                <a:srgbClr val="587682"/>
              </a:solidFill>
              <a:latin typeface="Corbel" panose="020B0503020204020204" pitchFamily="34" charset="0"/>
              <a:cs typeface="Candara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F9E91B09-763A-48DC-8B8E-B44002199A8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3687"/>
          <a:stretch/>
        </p:blipFill>
        <p:spPr>
          <a:xfrm>
            <a:off x="1222632" y="1570375"/>
            <a:ext cx="2721349" cy="306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25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50D8BE0C-56C7-29C4-1D40-331FEB7452AE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anchor="ctr"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/>
              <a:buNone/>
            </a:pPr>
            <a:endParaRPr lang="es-CL" sz="2400" b="1" dirty="0">
              <a:solidFill>
                <a:srgbClr val="587682"/>
              </a:solidFill>
              <a:latin typeface="Corbel" panose="020B0503020204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DC0F3224-F209-4198-B34D-9AA2D31953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308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4C03F650-D3C8-D801-0D78-61BA00835E3B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anchor="ctr"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/>
              <a:buNone/>
            </a:pP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¿Cómo Hospital Digital beneficia a los usuarios de la red?  </a:t>
            </a:r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E2B5E531-245D-BF8B-6788-AC253222D4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8503821"/>
              </p:ext>
            </p:extLst>
          </p:nvPr>
        </p:nvGraphicFramePr>
        <p:xfrm>
          <a:off x="3025912" y="1050969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Graphic 11">
            <a:extLst>
              <a:ext uri="{FF2B5EF4-FFF2-40B4-BE49-F238E27FC236}">
                <a16:creationId xmlns:a16="http://schemas.microsoft.com/office/drawing/2014/main" id="{9A1C0030-B436-702D-6E84-FBB50EF3FD1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235" t="27382" r="19665" b="30543"/>
          <a:stretch/>
        </p:blipFill>
        <p:spPr>
          <a:xfrm>
            <a:off x="843350" y="1338610"/>
            <a:ext cx="1411283" cy="801414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AE51603-E666-E6E5-6B44-4A0353DC5AC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50773" y="2437677"/>
            <a:ext cx="796436" cy="801413"/>
          </a:xfrm>
          <a:prstGeom prst="rect">
            <a:avLst/>
          </a:prstGeom>
        </p:spPr>
      </p:pic>
      <p:pic>
        <p:nvPicPr>
          <p:cNvPr id="6" name="Graphic 28">
            <a:extLst>
              <a:ext uri="{FF2B5EF4-FFF2-40B4-BE49-F238E27FC236}">
                <a16:creationId xmlns:a16="http://schemas.microsoft.com/office/drawing/2014/main" id="{878B6798-4C47-8F5D-5B11-C744B37856F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39049" y="3431826"/>
            <a:ext cx="890869" cy="656954"/>
          </a:xfrm>
          <a:prstGeom prst="rect">
            <a:avLst/>
          </a:prstGeom>
        </p:spPr>
      </p:pic>
      <p:pic>
        <p:nvPicPr>
          <p:cNvPr id="7" name="Graphic 12">
            <a:extLst>
              <a:ext uri="{FF2B5EF4-FFF2-40B4-BE49-F238E27FC236}">
                <a16:creationId xmlns:a16="http://schemas.microsoft.com/office/drawing/2014/main" id="{286AFA9A-AC01-9246-C391-139CB3E979C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40367" y="4338466"/>
            <a:ext cx="976341" cy="801413"/>
          </a:xfrm>
          <a:prstGeom prst="rect">
            <a:avLst/>
          </a:prstGeom>
        </p:spPr>
      </p:pic>
      <p:pic>
        <p:nvPicPr>
          <p:cNvPr id="8" name="Graphic 3">
            <a:extLst>
              <a:ext uri="{FF2B5EF4-FFF2-40B4-BE49-F238E27FC236}">
                <a16:creationId xmlns:a16="http://schemas.microsoft.com/office/drawing/2014/main" id="{7CCF08FE-E53A-B709-D5CB-B569F72A66E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17593" y="5449150"/>
            <a:ext cx="733779" cy="838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067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/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anchor="ctr"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/>
              <a:buNone/>
            </a:pPr>
            <a:r>
              <a:rPr lang="es-MX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Estrategias de Salud Digital disponibles en la red </a:t>
            </a:r>
            <a:endParaRPr lang="es-CL" sz="2400" b="1" dirty="0">
              <a:solidFill>
                <a:srgbClr val="587682"/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084771"/>
              </p:ext>
            </p:extLst>
          </p:nvPr>
        </p:nvGraphicFramePr>
        <p:xfrm>
          <a:off x="969553" y="982134"/>
          <a:ext cx="9952446" cy="53244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07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76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174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5852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STRATEGIAS</a:t>
                      </a:r>
                      <a:r>
                        <a:rPr lang="es-MX" sz="20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IMPLEMENTADAS </a:t>
                      </a:r>
                      <a:endParaRPr lang="es-CL" sz="20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ODALIDAD </a:t>
                      </a:r>
                      <a:endParaRPr lang="es-CL" sz="20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IVEL</a:t>
                      </a:r>
                      <a:r>
                        <a:rPr lang="es-MX" sz="20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DE ATENCION </a:t>
                      </a:r>
                      <a:endParaRPr lang="es-CL" sz="20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5852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 dirty="0">
                          <a:effectLst/>
                          <a:latin typeface="+mj-lt"/>
                        </a:rPr>
                        <a:t>Tele psiquiatría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- 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SAM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5852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u="none" strike="noStrike">
                          <a:effectLst/>
                          <a:latin typeface="+mj-lt"/>
                        </a:rPr>
                        <a:t>Línea de Prevención de Suicidio</a:t>
                      </a:r>
                      <a:endParaRPr lang="es-MX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- 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DA LA RED 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5852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>
                          <a:effectLst/>
                          <a:latin typeface="+mj-lt"/>
                        </a:rPr>
                        <a:t>Saludablemente</a:t>
                      </a:r>
                      <a:endParaRPr lang="es-CL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- 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DA LA RED 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5852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>
                          <a:effectLst/>
                          <a:latin typeface="+mj-lt"/>
                        </a:rPr>
                        <a:t>Salud Mental Funcionarios</a:t>
                      </a:r>
                      <a:endParaRPr lang="es-CL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- 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UNCIONARIOS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3344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u="none" strike="noStrike">
                          <a:effectLst/>
                          <a:latin typeface="+mj-lt"/>
                        </a:rPr>
                        <a:t>Apoyo a las unidades prequirurgicas (UPQ)</a:t>
                      </a:r>
                      <a:endParaRPr lang="es-MX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- 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VEL SECUNDARIO 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5852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 dirty="0">
                          <a:effectLst/>
                          <a:latin typeface="+mj-lt"/>
                        </a:rPr>
                        <a:t>Tele comité Oncológico Central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- 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VEL SECUNDARIO 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5852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>
                          <a:effectLst/>
                          <a:latin typeface="+mj-lt"/>
                        </a:rPr>
                        <a:t>Diabetes II</a:t>
                      </a:r>
                      <a:endParaRPr lang="es-CL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- A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5852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>
                          <a:effectLst/>
                          <a:latin typeface="+mj-lt"/>
                        </a:rPr>
                        <a:t>Telegeriatría</a:t>
                      </a:r>
                      <a:endParaRPr lang="es-CL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- A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S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5852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>
                          <a:effectLst/>
                          <a:latin typeface="+mj-lt"/>
                        </a:rPr>
                        <a:t>Nefrología</a:t>
                      </a:r>
                      <a:endParaRPr lang="es-CL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- A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S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5852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>
                          <a:effectLst/>
                          <a:latin typeface="+mj-lt"/>
                        </a:rPr>
                        <a:t>Ortodoncia</a:t>
                      </a:r>
                      <a:endParaRPr lang="es-CL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- A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S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5852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>
                          <a:effectLst/>
                          <a:latin typeface="+mj-lt"/>
                        </a:rPr>
                        <a:t>Patología Oral</a:t>
                      </a:r>
                      <a:endParaRPr lang="es-CL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- A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S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43344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u="none" strike="noStrike">
                          <a:effectLst/>
                          <a:latin typeface="+mj-lt"/>
                        </a:rPr>
                        <a:t>Tamizaje Retinopatía Diabética vía Telemedicina</a:t>
                      </a:r>
                      <a:endParaRPr lang="es-MX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- Apoyo Diagnóstico a Distanci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5852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 dirty="0">
                          <a:effectLst/>
                          <a:latin typeface="+mj-lt"/>
                        </a:rPr>
                        <a:t>ATEMTA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- 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S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5852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rmatología</a:t>
                      </a:r>
                      <a:r>
                        <a:rPr lang="es-MX" sz="2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- Asincrónico 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S 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56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3745170"/>
              </p:ext>
            </p:extLst>
          </p:nvPr>
        </p:nvGraphicFramePr>
        <p:xfrm>
          <a:off x="491550" y="1134134"/>
          <a:ext cx="10261116" cy="3124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394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10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108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20137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RATEGIAS</a:t>
                      </a:r>
                      <a:r>
                        <a:rPr lang="es-MX" sz="2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IMPLEMENTADAS QUE SE DEBEN POTENCIAL </a:t>
                      </a:r>
                      <a:endParaRPr lang="es-CL" sz="2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DALIDAD</a:t>
                      </a:r>
                      <a:r>
                        <a:rPr lang="es-MX" sz="2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endParaRPr lang="es-CL" sz="2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VEL DE ATENCION </a:t>
                      </a:r>
                      <a:endParaRPr lang="es-CL" sz="2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3771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 dirty="0">
                          <a:effectLst/>
                          <a:latin typeface="+mj-lt"/>
                        </a:rPr>
                        <a:t>Medicina General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- 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S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3771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 dirty="0">
                          <a:effectLst/>
                          <a:latin typeface="+mj-lt"/>
                        </a:rPr>
                        <a:t>Diabetes I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- 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VEL SECUNDARIO 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3771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>
                          <a:effectLst/>
                          <a:latin typeface="+mj-lt"/>
                        </a:rPr>
                        <a:t>Apoyo Lista de Espera</a:t>
                      </a:r>
                      <a:endParaRPr lang="es-CL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- 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VEL SECUNDARIO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3771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 dirty="0">
                          <a:effectLst/>
                          <a:latin typeface="+mj-lt"/>
                        </a:rPr>
                        <a:t>Endocrinología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- A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S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3771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>
                          <a:effectLst/>
                          <a:latin typeface="+mj-lt"/>
                        </a:rPr>
                        <a:t>Tele Otorrinolaringología</a:t>
                      </a:r>
                      <a:endParaRPr lang="es-CL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- A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VEL SECUNDARIO 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3771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>
                          <a:effectLst/>
                          <a:latin typeface="+mj-lt"/>
                        </a:rPr>
                        <a:t>Telereumatología</a:t>
                      </a:r>
                      <a:endParaRPr lang="es-CL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- Asincrónic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S 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3771"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u="none" strike="noStrike" dirty="0">
                          <a:effectLst/>
                          <a:latin typeface="+mj-lt"/>
                        </a:rPr>
                        <a:t>Trastornos </a:t>
                      </a:r>
                      <a:r>
                        <a:rPr lang="es-CL" sz="2000" u="none" strike="noStrike" dirty="0" err="1">
                          <a:effectLst/>
                          <a:latin typeface="+mj-lt"/>
                        </a:rPr>
                        <a:t>Temporomandibulares</a:t>
                      </a:r>
                      <a:endParaRPr lang="es-CL" sz="2000" u="none" strike="noStrike" dirty="0">
                        <a:effectLst/>
                        <a:latin typeface="+mj-lt"/>
                      </a:endParaRPr>
                    </a:p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elesalu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- Asincrónico</a:t>
                      </a:r>
                    </a:p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- Asincrónico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S</a:t>
                      </a:r>
                    </a:p>
                    <a:p>
                      <a:pPr algn="l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S</a:t>
                      </a:r>
                      <a:endParaRPr lang="es-CL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879" y="0"/>
            <a:ext cx="11754107" cy="719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73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36745284-B96D-8824-A2CE-85E6E130951E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Estrategias de Telemedicina Local </a:t>
            </a:r>
          </a:p>
        </p:txBody>
      </p:sp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DE463E4B-016E-EF6D-40FD-61F2CF34B9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4828224"/>
              </p:ext>
            </p:extLst>
          </p:nvPr>
        </p:nvGraphicFramePr>
        <p:xfrm>
          <a:off x="527520" y="865640"/>
          <a:ext cx="4461765" cy="188533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4461765">
                  <a:extLst>
                    <a:ext uri="{9D8B030D-6E8A-4147-A177-3AD203B41FA5}">
                      <a16:colId xmlns:a16="http://schemas.microsoft.com/office/drawing/2014/main" val="2335514204"/>
                    </a:ext>
                  </a:extLst>
                </a:gridCol>
              </a:tblGrid>
              <a:tr h="377066">
                <a:tc>
                  <a:txBody>
                    <a:bodyPr/>
                    <a:lstStyle/>
                    <a:p>
                      <a:r>
                        <a:rPr lang="es-CL" sz="1600" dirty="0"/>
                        <a:t>HET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1935204"/>
                  </a:ext>
                </a:extLst>
              </a:tr>
              <a:tr h="377066">
                <a:tc>
                  <a:txBody>
                    <a:bodyPr/>
                    <a:lstStyle/>
                    <a:p>
                      <a:r>
                        <a:rPr lang="es-CL" sz="1600" dirty="0"/>
                        <a:t>Endocrinología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1347381"/>
                  </a:ext>
                </a:extLst>
              </a:tr>
              <a:tr h="377066">
                <a:tc>
                  <a:txBody>
                    <a:bodyPr/>
                    <a:lstStyle/>
                    <a:p>
                      <a:r>
                        <a:rPr lang="es-CL" sz="1600" dirty="0"/>
                        <a:t>Neurología Adulto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9690403"/>
                  </a:ext>
                </a:extLst>
              </a:tr>
              <a:tr h="377066">
                <a:tc>
                  <a:txBody>
                    <a:bodyPr/>
                    <a:lstStyle/>
                    <a:p>
                      <a:r>
                        <a:rPr lang="es-CL" sz="1600" dirty="0"/>
                        <a:t>Pediatría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6253788"/>
                  </a:ext>
                </a:extLst>
              </a:tr>
              <a:tr h="377066">
                <a:tc>
                  <a:txBody>
                    <a:bodyPr/>
                    <a:lstStyle/>
                    <a:p>
                      <a:r>
                        <a:rPr lang="es-CL" sz="1600" dirty="0"/>
                        <a:t>Broncopulmonar (Control TBC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5702371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2089BB35-6E71-B424-D5A4-6042173E18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6699112"/>
              </p:ext>
            </p:extLst>
          </p:nvPr>
        </p:nvGraphicFramePr>
        <p:xfrm>
          <a:off x="527520" y="3852069"/>
          <a:ext cx="3019070" cy="107696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019070">
                  <a:extLst>
                    <a:ext uri="{9D8B030D-6E8A-4147-A177-3AD203B41FA5}">
                      <a16:colId xmlns:a16="http://schemas.microsoft.com/office/drawing/2014/main" val="23355142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s-CL" sz="1600" dirty="0"/>
                        <a:t>HAH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19352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L" sz="1600" dirty="0"/>
                        <a:t>Medicina Famili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13473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L" sz="1600" dirty="0"/>
                        <a:t>Pediatría (TBC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9690403"/>
                  </a:ext>
                </a:extLst>
              </a:tr>
            </a:tbl>
          </a:graphicData>
        </a:graphic>
      </p:graphicFrame>
      <p:pic>
        <p:nvPicPr>
          <p:cNvPr id="6" name="Google Shape;589;p46">
            <a:extLst>
              <a:ext uri="{FF2B5EF4-FFF2-40B4-BE49-F238E27FC236}">
                <a16:creationId xmlns:a16="http://schemas.microsoft.com/office/drawing/2014/main" id="{EDCFB3FD-6CF1-468D-265B-A0763E6B2F2E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1" t="10289" r="4116"/>
          <a:stretch/>
        </p:blipFill>
        <p:spPr>
          <a:xfrm>
            <a:off x="6240676" y="546516"/>
            <a:ext cx="4676172" cy="201843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45F09A94-1A16-8432-542E-0BEBA87CDB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3611" b="10232"/>
          <a:stretch/>
        </p:blipFill>
        <p:spPr>
          <a:xfrm>
            <a:off x="10078070" y="4777404"/>
            <a:ext cx="1188321" cy="1683864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2A8E2D87-1DBB-045A-AC34-F4ACBC8E8B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78578" y="2707497"/>
            <a:ext cx="1333183" cy="1777577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77C27F33-80C4-C7E8-743A-37A9A23C97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9021" y="3035687"/>
            <a:ext cx="3488328" cy="3483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016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CECC246B-ADCC-A395-7EF6-EF19CCEC3083}"/>
              </a:ext>
            </a:extLst>
          </p:cNvPr>
          <p:cNvSpPr txBox="1">
            <a:spLocks/>
          </p:cNvSpPr>
          <p:nvPr/>
        </p:nvSpPr>
        <p:spPr>
          <a:xfrm>
            <a:off x="411177" y="75780"/>
            <a:ext cx="11658999" cy="692616"/>
          </a:xfrm>
          <a:prstGeom prst="rect">
            <a:avLst/>
          </a:prstGeom>
        </p:spPr>
        <p:txBody>
          <a:bodyPr anchor="ctr"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Bef>
                <a:spcPts val="0"/>
              </a:spcBef>
              <a:buFont typeface="Arial"/>
              <a:buNone/>
            </a:pPr>
            <a:r>
              <a:rPr lang="es-CL" sz="2400" b="1" dirty="0">
                <a:solidFill>
                  <a:srgbClr val="587682"/>
                </a:solidFill>
                <a:latin typeface="Corbel" panose="020B0503020204020204" pitchFamily="34" charset="0"/>
              </a:rPr>
              <a:t>Participantes de las estrategias de Salud Digital </a:t>
            </a:r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94840FB6-61ED-C873-A117-6BC6B72E88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7388816"/>
              </p:ext>
            </p:extLst>
          </p:nvPr>
        </p:nvGraphicFramePr>
        <p:xfrm>
          <a:off x="1263582" y="1071941"/>
          <a:ext cx="9321800" cy="3832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69153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97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8.88738341232569517558E+00&quot;&gt;&lt;m_msothmcolidx val=&quot;0&quot;/&gt;&lt;m_rgb r=&quot;61&quot; g=&quot;82&quot; b=&quot;8F&quot;/&gt;&lt;m_nBrightness endver=&quot;26206&quot; val=&quot;0&quot;/&gt;&lt;/elem&gt;&lt;elem m_fUsage=&quot;8.11764778223803329382E-01&quot;&gt;&lt;m_msothmcolidx val=&quot;0&quot;/&gt;&lt;m_rgb r=&quot;D2&quot; g=&quot;41&quot; b=&quot;4A&quot;/&gt;&lt;m_nBrightness endver=&quot;26206&quot; val=&quot;0&quot;/&gt;&lt;/elem&gt;&lt;elem m_fUsage=&quot;2.82429536481000165171E-01&quot;&gt;&lt;m_msothmcolidx val=&quot;0&quot;/&gt;&lt;m_rgb r=&quot;7A&quot; g=&quot;96&quot; b=&quot;A1&quot;/&gt;&lt;m_nBrightness endver=&quot;26206&quot; val=&quot;0&quot;/&gt;&lt;/elem&gt;&lt;elem m_fUsage=&quot;1.82480036314007498799E-02&quot;&gt;&lt;m_msothmcolidx val=&quot;0&quot;/&gt;&lt;m_rgb r=&quot;CB&quot; g=&quot;CB&quot; b=&quot;CB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ofDskgQtus2i_9g63K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eleFIvR6ejHyDTP_NeU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eleFIvR6ejHyDTP_Ne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ofDskgQtus2i_9g63K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pug8xWTpSs7k_.tZzy.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NSAL 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0000" tIns="97200" rIns="180000" bIns="97200" rtlCol="0" anchor="t" anchorCtr="0">
        <a:spAutoFit/>
      </a:bodyPr>
      <a:lstStyle>
        <a:defPPr>
          <a:defRPr sz="1400" dirty="0" err="1" smtClean="0">
            <a:latin typeface="Candara"/>
            <a:cs typeface="Candar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NSAL 2" id="{6040A616-2CE2-4445-9E80-1E52DBBB6799}" vid="{E201EC57-1C49-4F1F-82A1-938FD70BA78C}"/>
    </a:ext>
  </a:extLst>
</a:theme>
</file>

<file path=ppt/theme/theme10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6_Custom Design">
  <a:themeElements>
    <a:clrScheme name="Personalizado 9">
      <a:dk1>
        <a:sysClr val="windowText" lastClr="000000"/>
      </a:dk1>
      <a:lt1>
        <a:sysClr val="window" lastClr="FFFFFF"/>
      </a:lt1>
      <a:dk2>
        <a:srgbClr val="3F3F3F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0000" tIns="97200" rIns="180000" bIns="97200" rtlCol="0" anchor="t" anchorCtr="0">
        <a:spAutoFit/>
      </a:bodyPr>
      <a:lstStyle>
        <a:defPPr>
          <a:defRPr sz="1400" dirty="0" err="1" smtClean="0">
            <a:latin typeface="Candara"/>
            <a:cs typeface="Candara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2_MINSAL 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0000" tIns="97200" rIns="180000" bIns="97200" rtlCol="0" anchor="t" anchorCtr="0">
        <a:spAutoFit/>
      </a:bodyPr>
      <a:lstStyle>
        <a:defPPr>
          <a:defRPr sz="1400" dirty="0" err="1" smtClean="0">
            <a:latin typeface="Candara"/>
            <a:cs typeface="Candar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NSAL 2" id="{6040A616-2CE2-4445-9E80-1E52DBBB6799}" vid="{E201EC57-1C49-4F1F-82A1-938FD70BA78C}"/>
    </a:ext>
  </a:extLst>
</a:theme>
</file>

<file path=ppt/theme/theme13.xml><?xml version="1.0" encoding="utf-8"?>
<a:theme xmlns:a="http://schemas.openxmlformats.org/drawingml/2006/main" name="7_Custom Design">
  <a:themeElements>
    <a:clrScheme name="Personalizado 9">
      <a:dk1>
        <a:sysClr val="windowText" lastClr="000000"/>
      </a:dk1>
      <a:lt1>
        <a:sysClr val="window" lastClr="FFFFFF"/>
      </a:lt1>
      <a:dk2>
        <a:srgbClr val="3F3F3F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0000" tIns="97200" rIns="180000" bIns="97200" rtlCol="0" anchor="t" anchorCtr="0">
        <a:spAutoFit/>
      </a:bodyPr>
      <a:lstStyle>
        <a:defPPr>
          <a:defRPr sz="1400" dirty="0" err="1" smtClean="0">
            <a:latin typeface="Candara"/>
            <a:cs typeface="Candara"/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as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0000" tIns="97200" rIns="180000" bIns="97200" rtlCol="0" anchor="t" anchorCtr="0">
        <a:spAutoFit/>
      </a:bodyPr>
      <a:lstStyle>
        <a:defPPr>
          <a:defRPr sz="1400" dirty="0" err="1" smtClean="0">
            <a:latin typeface="Candara"/>
            <a:cs typeface="Candara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0000" tIns="97200" rIns="180000" bIns="97200" rtlCol="0" anchor="t" anchorCtr="0">
        <a:spAutoFit/>
      </a:bodyPr>
      <a:lstStyle>
        <a:defPPr>
          <a:defRPr sz="1400" dirty="0" err="1" smtClean="0">
            <a:latin typeface="Candara"/>
            <a:cs typeface="Candara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MINSAL 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0000" tIns="97200" rIns="180000" bIns="97200" rtlCol="0" anchor="t" anchorCtr="0">
        <a:spAutoFit/>
      </a:bodyPr>
      <a:lstStyle>
        <a:defPPr>
          <a:defRPr sz="1400" dirty="0" err="1" smtClean="0">
            <a:latin typeface="Candara"/>
            <a:cs typeface="Candar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NSAL 2" id="{6040A616-2CE2-4445-9E80-1E52DBBB6799}" vid="{E201EC57-1C49-4F1F-82A1-938FD70BA78C}"/>
    </a:ext>
  </a:extLst>
</a:theme>
</file>

<file path=ppt/theme/theme7.xml><?xml version="1.0" encoding="utf-8"?>
<a:theme xmlns:a="http://schemas.openxmlformats.org/drawingml/2006/main" name="1_Bas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0000" tIns="97200" rIns="180000" bIns="97200" rtlCol="0" anchor="t" anchorCtr="0">
        <a:spAutoFit/>
      </a:bodyPr>
      <a:lstStyle>
        <a:defPPr>
          <a:defRPr sz="1400" dirty="0" err="1" smtClean="0">
            <a:latin typeface="Candara"/>
            <a:cs typeface="Candara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0000" tIns="97200" rIns="180000" bIns="97200" rtlCol="0" anchor="t" anchorCtr="0">
        <a:spAutoFit/>
      </a:bodyPr>
      <a:lstStyle>
        <a:defPPr>
          <a:defRPr sz="1400" dirty="0" err="1" smtClean="0">
            <a:latin typeface="Candara"/>
            <a:cs typeface="Candara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INSAL 2</Template>
  <TotalTime>25330</TotalTime>
  <Words>1777</Words>
  <Application>Microsoft Office PowerPoint</Application>
  <PresentationFormat>Panorámica</PresentationFormat>
  <Paragraphs>234</Paragraphs>
  <Slides>25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5</vt:i4>
      </vt:variant>
    </vt:vector>
  </HeadingPairs>
  <TitlesOfParts>
    <vt:vector size="44" baseType="lpstr">
      <vt:lpstr>Arial</vt:lpstr>
      <vt:lpstr>Calibri</vt:lpstr>
      <vt:lpstr>Candara</vt:lpstr>
      <vt:lpstr>Corbel</vt:lpstr>
      <vt:lpstr>Wingdings</vt:lpstr>
      <vt:lpstr>MINSAL 2</vt:lpstr>
      <vt:lpstr>Base</vt:lpstr>
      <vt:lpstr>3_Custom Design</vt:lpstr>
      <vt:lpstr>Custom Design</vt:lpstr>
      <vt:lpstr>1_Custom Design</vt:lpstr>
      <vt:lpstr>1_MINSAL 2</vt:lpstr>
      <vt:lpstr>1_Base</vt:lpstr>
      <vt:lpstr>4_Custom Design</vt:lpstr>
      <vt:lpstr>2_Custom Design</vt:lpstr>
      <vt:lpstr>5_Custom Design</vt:lpstr>
      <vt:lpstr>6_Custom Design</vt:lpstr>
      <vt:lpstr>2_MINSAL 2</vt:lpstr>
      <vt:lpstr>7_Custom Design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Ivanna Vidal Placencia</dc:creator>
  <cp:lastModifiedBy>Veronica Morales Ponce</cp:lastModifiedBy>
  <cp:revision>816</cp:revision>
  <cp:lastPrinted>2019-06-04T12:45:23Z</cp:lastPrinted>
  <dcterms:created xsi:type="dcterms:W3CDTF">2019-05-30T14:41:23Z</dcterms:created>
  <dcterms:modified xsi:type="dcterms:W3CDTF">2025-12-15T13:19:19Z</dcterms:modified>
</cp:coreProperties>
</file>